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5.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728" r:id="rId4"/>
  </p:sldMasterIdLst>
  <p:notesMasterIdLst>
    <p:notesMasterId r:id="rId17"/>
  </p:notesMasterIdLst>
  <p:handoutMasterIdLst>
    <p:handoutMasterId r:id="rId18"/>
  </p:handoutMasterIdLst>
  <p:sldIdLst>
    <p:sldId id="818" r:id="rId5"/>
    <p:sldId id="945" r:id="rId6"/>
    <p:sldId id="904" r:id="rId7"/>
    <p:sldId id="1119" r:id="rId8"/>
    <p:sldId id="1093" r:id="rId9"/>
    <p:sldId id="1131" r:id="rId10"/>
    <p:sldId id="1073" r:id="rId11"/>
    <p:sldId id="1130" r:id="rId12"/>
    <p:sldId id="1128" r:id="rId13"/>
    <p:sldId id="1132" r:id="rId14"/>
    <p:sldId id="973" r:id="rId15"/>
    <p:sldId id="899" r:id="rId16"/>
  </p:sldIdLst>
  <p:sldSz cx="9144000" cy="5143500" type="screen16x9"/>
  <p:notesSz cx="6985000" cy="92837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Generic Template" id="{E3FCA849-F955-4ADB-A9C8-1403A8C1EC49}">
          <p14:sldIdLst>
            <p14:sldId id="818"/>
            <p14:sldId id="945"/>
            <p14:sldId id="904"/>
            <p14:sldId id="1119"/>
            <p14:sldId id="1093"/>
            <p14:sldId id="1131"/>
            <p14:sldId id="1073"/>
            <p14:sldId id="1130"/>
            <p14:sldId id="1128"/>
            <p14:sldId id="1132"/>
            <p14:sldId id="973"/>
          </p14:sldIdLst>
        </p14:section>
        <p14:section name="Tool Kit" id="{F7ECC599-F0F9-48B0-A7A8-BF9F0A801523}">
          <p14:sldIdLst>
            <p14:sldId id="899"/>
          </p14:sldIdLst>
        </p14:section>
      </p14:sectionLst>
    </p:ext>
    <p:ext uri="{EFAFB233-063F-42B5-8137-9DF3F51BA10A}">
      <p15:sldGuideLst xmlns:p15="http://schemas.microsoft.com/office/powerpoint/2012/main">
        <p15:guide id="8" pos="2880">
          <p15:clr>
            <a:srgbClr val="A4A3A4"/>
          </p15:clr>
        </p15:guide>
        <p15:guide id="9" orient="horz" pos="1452" userDrawn="1">
          <p15:clr>
            <a:srgbClr val="A4A3A4"/>
          </p15:clr>
        </p15:guide>
        <p15:guide id="10" pos="4224" userDrawn="1">
          <p15:clr>
            <a:srgbClr val="A4A3A4"/>
          </p15:clr>
        </p15:guide>
        <p15:guide id="11" pos="1536" userDrawn="1">
          <p15:clr>
            <a:srgbClr val="A4A3A4"/>
          </p15:clr>
        </p15:guide>
        <p15:guide id="12" orient="horz" pos="1788" userDrawn="1">
          <p15:clr>
            <a:srgbClr val="A4A3A4"/>
          </p15:clr>
        </p15:guide>
      </p15:sldGuideLst>
    </p:ext>
    <p:ext uri="{2D200454-40CA-4A62-9FC3-DE9A4176ACB9}">
      <p15:notesGuideLst xmlns:p15="http://schemas.microsoft.com/office/powerpoint/2012/main">
        <p15:guide id="1" orient="horz" pos="2924" userDrawn="1">
          <p15:clr>
            <a:srgbClr val="A4A3A4"/>
          </p15:clr>
        </p15:guide>
        <p15:guide id="2" pos="220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00"/>
    <a:srgbClr val="4C5FB2"/>
    <a:srgbClr val="ABB4DB"/>
    <a:srgbClr val="DA0F7F"/>
    <a:srgbClr val="1081DF"/>
    <a:srgbClr val="B44A9C"/>
    <a:srgbClr val="C53D95"/>
    <a:srgbClr val="99C7EA"/>
    <a:srgbClr val="E6E6E6"/>
    <a:srgbClr val="66AAD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223" autoAdjust="0"/>
    <p:restoredTop sz="95149" autoAdjust="0"/>
  </p:normalViewPr>
  <p:slideViewPr>
    <p:cSldViewPr snapToGrid="0" snapToObjects="1">
      <p:cViewPr varScale="1">
        <p:scale>
          <a:sx n="108" d="100"/>
          <a:sy n="108" d="100"/>
        </p:scale>
        <p:origin x="602" y="34"/>
      </p:cViewPr>
      <p:guideLst>
        <p:guide pos="2880"/>
        <p:guide orient="horz" pos="1452"/>
        <p:guide pos="4224"/>
        <p:guide pos="1536"/>
        <p:guide orient="horz" pos="1788"/>
      </p:guideLst>
    </p:cSldViewPr>
  </p:slideViewPr>
  <p:outlineViewPr>
    <p:cViewPr>
      <p:scale>
        <a:sx n="33" d="100"/>
        <a:sy n="33" d="100"/>
      </p:scale>
      <p:origin x="0" y="-8679"/>
    </p:cViewPr>
  </p:outlineViewPr>
  <p:notesTextViewPr>
    <p:cViewPr>
      <p:scale>
        <a:sx n="3" d="2"/>
        <a:sy n="3" d="2"/>
      </p:scale>
      <p:origin x="0" y="0"/>
    </p:cViewPr>
  </p:notesTextViewPr>
  <p:sorterViewPr>
    <p:cViewPr>
      <p:scale>
        <a:sx n="180" d="100"/>
        <a:sy n="180" d="100"/>
      </p:scale>
      <p:origin x="0" y="-3552"/>
    </p:cViewPr>
  </p:sorterViewPr>
  <p:notesViewPr>
    <p:cSldViewPr snapToGrid="0" snapToObjects="1">
      <p:cViewPr varScale="1">
        <p:scale>
          <a:sx n="119" d="100"/>
          <a:sy n="119" d="100"/>
        </p:scale>
        <p:origin x="4953" y="57"/>
      </p:cViewPr>
      <p:guideLst>
        <p:guide orient="horz" pos="2924"/>
        <p:guide pos="220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27363" cy="463550"/>
          </a:xfrm>
          <a:prstGeom prst="rect">
            <a:avLst/>
          </a:prstGeom>
        </p:spPr>
        <p:txBody>
          <a:bodyPr vert="horz" lIns="91029" tIns="45514" rIns="91029" bIns="45514" rtlCol="0"/>
          <a:lstStyle>
            <a:lvl1pPr algn="l">
              <a:defRPr sz="1200"/>
            </a:lvl1pPr>
          </a:lstStyle>
          <a:p>
            <a:endParaRPr lang="en-US"/>
          </a:p>
        </p:txBody>
      </p:sp>
      <p:sp>
        <p:nvSpPr>
          <p:cNvPr id="3" name="Date Placeholder 2"/>
          <p:cNvSpPr>
            <a:spLocks noGrp="1"/>
          </p:cNvSpPr>
          <p:nvPr>
            <p:ph type="dt" sz="quarter" idx="1"/>
          </p:nvPr>
        </p:nvSpPr>
        <p:spPr>
          <a:xfrm>
            <a:off x="3956052" y="0"/>
            <a:ext cx="3027363" cy="463550"/>
          </a:xfrm>
          <a:prstGeom prst="rect">
            <a:avLst/>
          </a:prstGeom>
        </p:spPr>
        <p:txBody>
          <a:bodyPr vert="horz" lIns="91029" tIns="45514" rIns="91029" bIns="45514" rtlCol="0"/>
          <a:lstStyle>
            <a:lvl1pPr algn="r">
              <a:defRPr sz="1200"/>
            </a:lvl1pPr>
          </a:lstStyle>
          <a:p>
            <a:fld id="{8130379C-6C2B-4A61-B29A-D98B4FBEB7AB}" type="datetime1">
              <a:rPr lang="en-US" smtClean="0"/>
              <a:t>9/28/2018</a:t>
            </a:fld>
            <a:endParaRPr lang="en-US"/>
          </a:p>
        </p:txBody>
      </p:sp>
      <p:sp>
        <p:nvSpPr>
          <p:cNvPr id="4" name="Footer Placeholder 3"/>
          <p:cNvSpPr>
            <a:spLocks noGrp="1"/>
          </p:cNvSpPr>
          <p:nvPr>
            <p:ph type="ftr" sz="quarter" idx="2"/>
          </p:nvPr>
        </p:nvSpPr>
        <p:spPr>
          <a:xfrm>
            <a:off x="2" y="8818563"/>
            <a:ext cx="3027363" cy="463550"/>
          </a:xfrm>
          <a:prstGeom prst="rect">
            <a:avLst/>
          </a:prstGeom>
        </p:spPr>
        <p:txBody>
          <a:bodyPr vert="horz" lIns="91029" tIns="45514" rIns="91029" bIns="45514" rtlCol="0" anchor="b"/>
          <a:lstStyle>
            <a:lvl1pPr algn="l">
              <a:defRPr sz="1200"/>
            </a:lvl1pPr>
          </a:lstStyle>
          <a:p>
            <a:endParaRPr lang="en-US"/>
          </a:p>
        </p:txBody>
      </p:sp>
      <p:sp>
        <p:nvSpPr>
          <p:cNvPr id="5" name="Slide Number Placeholder 4"/>
          <p:cNvSpPr>
            <a:spLocks noGrp="1"/>
          </p:cNvSpPr>
          <p:nvPr>
            <p:ph type="sldNum" sz="quarter" idx="3"/>
          </p:nvPr>
        </p:nvSpPr>
        <p:spPr>
          <a:xfrm>
            <a:off x="3956052" y="8818563"/>
            <a:ext cx="3027363" cy="463550"/>
          </a:xfrm>
          <a:prstGeom prst="rect">
            <a:avLst/>
          </a:prstGeom>
        </p:spPr>
        <p:txBody>
          <a:bodyPr vert="horz" lIns="91029" tIns="45514" rIns="91029" bIns="45514" rtlCol="0" anchor="b"/>
          <a:lstStyle>
            <a:lvl1pPr algn="r">
              <a:defRPr sz="1200"/>
            </a:lvl1pPr>
          </a:lstStyle>
          <a:p>
            <a:fld id="{5C665FA2-C151-4662-A2E4-7CE245007D67}" type="slidenum">
              <a:rPr lang="en-US" smtClean="0"/>
              <a:t>‹#›</a:t>
            </a:fld>
            <a:endParaRPr lang="en-US"/>
          </a:p>
        </p:txBody>
      </p:sp>
    </p:spTree>
    <p:extLst>
      <p:ext uri="{BB962C8B-B14F-4D97-AF65-F5344CB8AC3E}">
        <p14:creationId xmlns:p14="http://schemas.microsoft.com/office/powerpoint/2010/main" val="2579845493"/>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26833" cy="464185"/>
          </a:xfrm>
          <a:prstGeom prst="rect">
            <a:avLst/>
          </a:prstGeom>
        </p:spPr>
        <p:txBody>
          <a:bodyPr vert="horz" lIns="92540" tIns="46270" rIns="92540" bIns="46270" rtlCol="0"/>
          <a:lstStyle>
            <a:lvl1pPr algn="l">
              <a:defRPr sz="1200"/>
            </a:lvl1pPr>
          </a:lstStyle>
          <a:p>
            <a:endParaRPr lang="en-US"/>
          </a:p>
        </p:txBody>
      </p:sp>
      <p:sp>
        <p:nvSpPr>
          <p:cNvPr id="3" name="Date Placeholder 2"/>
          <p:cNvSpPr>
            <a:spLocks noGrp="1"/>
          </p:cNvSpPr>
          <p:nvPr>
            <p:ph type="dt" idx="1"/>
          </p:nvPr>
        </p:nvSpPr>
        <p:spPr>
          <a:xfrm>
            <a:off x="3956552" y="0"/>
            <a:ext cx="3026833" cy="464185"/>
          </a:xfrm>
          <a:prstGeom prst="rect">
            <a:avLst/>
          </a:prstGeom>
        </p:spPr>
        <p:txBody>
          <a:bodyPr vert="horz" lIns="92540" tIns="46270" rIns="92540" bIns="46270" rtlCol="0"/>
          <a:lstStyle>
            <a:lvl1pPr algn="r">
              <a:defRPr sz="1200"/>
            </a:lvl1pPr>
          </a:lstStyle>
          <a:p>
            <a:fld id="{334E61EB-621D-4DD7-BE0E-A76196D7453E}" type="datetime1">
              <a:rPr lang="en-US" smtClean="0"/>
              <a:t>9/28/2018</a:t>
            </a:fld>
            <a:endParaRPr lang="en-US"/>
          </a:p>
        </p:txBody>
      </p:sp>
      <p:sp>
        <p:nvSpPr>
          <p:cNvPr id="4" name="Slide Image Placeholder 3"/>
          <p:cNvSpPr>
            <a:spLocks noGrp="1" noRot="1" noChangeAspect="1"/>
          </p:cNvSpPr>
          <p:nvPr>
            <p:ph type="sldImg" idx="2"/>
          </p:nvPr>
        </p:nvSpPr>
        <p:spPr>
          <a:xfrm>
            <a:off x="398463" y="696913"/>
            <a:ext cx="6188075" cy="3481387"/>
          </a:xfrm>
          <a:prstGeom prst="rect">
            <a:avLst/>
          </a:prstGeom>
          <a:noFill/>
          <a:ln w="12700">
            <a:solidFill>
              <a:prstClr val="black"/>
            </a:solidFill>
          </a:ln>
        </p:spPr>
        <p:txBody>
          <a:bodyPr vert="horz" lIns="92540" tIns="46270" rIns="92540" bIns="46270" rtlCol="0" anchor="ctr"/>
          <a:lstStyle/>
          <a:p>
            <a:endParaRPr lang="en-US"/>
          </a:p>
        </p:txBody>
      </p:sp>
      <p:sp>
        <p:nvSpPr>
          <p:cNvPr id="5" name="Notes Placeholder 4"/>
          <p:cNvSpPr>
            <a:spLocks noGrp="1"/>
          </p:cNvSpPr>
          <p:nvPr>
            <p:ph type="body" sz="quarter" idx="3"/>
          </p:nvPr>
        </p:nvSpPr>
        <p:spPr>
          <a:xfrm>
            <a:off x="698500" y="4409759"/>
            <a:ext cx="5588000" cy="4177665"/>
          </a:xfrm>
          <a:prstGeom prst="rect">
            <a:avLst/>
          </a:prstGeom>
        </p:spPr>
        <p:txBody>
          <a:bodyPr vert="horz" lIns="92540" tIns="46270" rIns="92540" bIns="4627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8817904"/>
            <a:ext cx="3026833" cy="464185"/>
          </a:xfrm>
          <a:prstGeom prst="rect">
            <a:avLst/>
          </a:prstGeom>
        </p:spPr>
        <p:txBody>
          <a:bodyPr vert="horz" lIns="92540" tIns="46270" rIns="92540" bIns="46270" rtlCol="0" anchor="b"/>
          <a:lstStyle>
            <a:lvl1pPr algn="l">
              <a:defRPr sz="1200"/>
            </a:lvl1pPr>
          </a:lstStyle>
          <a:p>
            <a:endParaRPr lang="en-US"/>
          </a:p>
        </p:txBody>
      </p:sp>
      <p:sp>
        <p:nvSpPr>
          <p:cNvPr id="7" name="Slide Number Placeholder 6"/>
          <p:cNvSpPr>
            <a:spLocks noGrp="1"/>
          </p:cNvSpPr>
          <p:nvPr>
            <p:ph type="sldNum" sz="quarter" idx="5"/>
          </p:nvPr>
        </p:nvSpPr>
        <p:spPr>
          <a:xfrm>
            <a:off x="3956552" y="8817904"/>
            <a:ext cx="3026833" cy="464185"/>
          </a:xfrm>
          <a:prstGeom prst="rect">
            <a:avLst/>
          </a:prstGeom>
        </p:spPr>
        <p:txBody>
          <a:bodyPr vert="horz" lIns="92540" tIns="46270" rIns="92540" bIns="46270" rtlCol="0" anchor="b"/>
          <a:lstStyle>
            <a:lvl1pPr algn="r">
              <a:defRPr sz="1200"/>
            </a:lvl1pPr>
          </a:lstStyle>
          <a:p>
            <a:fld id="{F55EC67E-402D-4FA6-937E-816E25842894}" type="slidenum">
              <a:rPr lang="en-US" smtClean="0"/>
              <a:t>‹#›</a:t>
            </a:fld>
            <a:endParaRPr lang="en-US"/>
          </a:p>
        </p:txBody>
      </p:sp>
    </p:spTree>
    <p:extLst>
      <p:ext uri="{BB962C8B-B14F-4D97-AF65-F5344CB8AC3E}">
        <p14:creationId xmlns:p14="http://schemas.microsoft.com/office/powerpoint/2010/main" val="2677741102"/>
      </p:ext>
    </p:extLst>
  </p:cSld>
  <p:clrMap bg1="lt1" tx1="dk1" bg2="lt2" tx2="dk2" accent1="accent1" accent2="accent2" accent3="accent3" accent4="accent4" accent5="accent5" accent6="accent6" hlink="hlink" folHlink="folHlink"/>
  <p:hf/>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Studio</a:t>
            </a:r>
            <a:r>
              <a:rPr lang="en-US" baseline="0" dirty="0"/>
              <a:t> PowerPoint Templates page: </a:t>
            </a:r>
            <a:r>
              <a:rPr lang="en-US" dirty="0"/>
              <a:t>https://sp.slalom.com/ourfirm/studio/SitePages/templates.aspx</a:t>
            </a:r>
          </a:p>
        </p:txBody>
      </p:sp>
      <p:sp>
        <p:nvSpPr>
          <p:cNvPr id="4" name="Header Placeholder 3"/>
          <p:cNvSpPr>
            <a:spLocks noGrp="1"/>
          </p:cNvSpPr>
          <p:nvPr>
            <p:ph type="hdr" sz="quarter" idx="10"/>
          </p:nvPr>
        </p:nvSpPr>
        <p:spPr/>
        <p:txBody>
          <a:bodyPr/>
          <a:lstStyle/>
          <a:p>
            <a:endParaRPr lang="en-US"/>
          </a:p>
        </p:txBody>
      </p:sp>
      <p:sp>
        <p:nvSpPr>
          <p:cNvPr id="5" name="Date Placeholder 4"/>
          <p:cNvSpPr>
            <a:spLocks noGrp="1"/>
          </p:cNvSpPr>
          <p:nvPr>
            <p:ph type="dt" idx="11"/>
          </p:nvPr>
        </p:nvSpPr>
        <p:spPr/>
        <p:txBody>
          <a:bodyPr/>
          <a:lstStyle/>
          <a:p>
            <a:fld id="{28D93AFF-8A8D-4498-A0ED-F6A767650751}" type="datetime1">
              <a:rPr lang="en-US" smtClean="0"/>
              <a:t>9/28/2018</a:t>
            </a:fld>
            <a:endParaRPr lang="en-US"/>
          </a:p>
        </p:txBody>
      </p:sp>
      <p:sp>
        <p:nvSpPr>
          <p:cNvPr id="6" name="Footer Placeholder 5"/>
          <p:cNvSpPr>
            <a:spLocks noGrp="1"/>
          </p:cNvSpPr>
          <p:nvPr>
            <p:ph type="ftr" sz="quarter" idx="12"/>
          </p:nvPr>
        </p:nvSpPr>
        <p:spPr/>
        <p:txBody>
          <a:bodyPr/>
          <a:lstStyle/>
          <a:p>
            <a:endParaRPr lang="en-US"/>
          </a:p>
        </p:txBody>
      </p:sp>
      <p:sp>
        <p:nvSpPr>
          <p:cNvPr id="7" name="Slide Number Placeholder 6"/>
          <p:cNvSpPr>
            <a:spLocks noGrp="1"/>
          </p:cNvSpPr>
          <p:nvPr>
            <p:ph type="sldNum" sz="quarter" idx="13"/>
          </p:nvPr>
        </p:nvSpPr>
        <p:spPr/>
        <p:txBody>
          <a:bodyPr/>
          <a:lstStyle/>
          <a:p>
            <a:fld id="{F55EC67E-402D-4FA6-937E-816E25842894}" type="slidenum">
              <a:rPr lang="en-US" smtClean="0"/>
              <a:t>1</a:t>
            </a:fld>
            <a:endParaRPr lang="en-US"/>
          </a:p>
        </p:txBody>
      </p:sp>
    </p:spTree>
    <p:extLst>
      <p:ext uri="{BB962C8B-B14F-4D97-AF65-F5344CB8AC3E}">
        <p14:creationId xmlns:p14="http://schemas.microsoft.com/office/powerpoint/2010/main" val="38645478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787946-F38A-442D-8B4B-7C33473CC73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365987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8463" y="696913"/>
            <a:ext cx="6188075" cy="34813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55EC67E-402D-4FA6-937E-816E25842894}" type="slidenum">
              <a:rPr lang="en-US" smtClean="0"/>
              <a:t>3</a:t>
            </a:fld>
            <a:endParaRPr lang="en-US"/>
          </a:p>
        </p:txBody>
      </p:sp>
      <p:sp>
        <p:nvSpPr>
          <p:cNvPr id="5" name="Date Placeholder 4"/>
          <p:cNvSpPr>
            <a:spLocks noGrp="1"/>
          </p:cNvSpPr>
          <p:nvPr>
            <p:ph type="dt" idx="11"/>
          </p:nvPr>
        </p:nvSpPr>
        <p:spPr/>
        <p:txBody>
          <a:bodyPr/>
          <a:lstStyle/>
          <a:p>
            <a:fld id="{89C4331E-3547-40D6-86CA-C7B174431D4A}" type="datetime1">
              <a:rPr lang="en-US" smtClean="0"/>
              <a:t>9/28/2018</a:t>
            </a:fld>
            <a:endParaRPr lang="en-US"/>
          </a:p>
        </p:txBody>
      </p:sp>
      <p:sp>
        <p:nvSpPr>
          <p:cNvPr id="6" name="Footer Placeholder 5"/>
          <p:cNvSpPr>
            <a:spLocks noGrp="1"/>
          </p:cNvSpPr>
          <p:nvPr>
            <p:ph type="ftr" sz="quarter" idx="12"/>
          </p:nvPr>
        </p:nvSpPr>
        <p:spPr/>
        <p:txBody>
          <a:bodyPr/>
          <a:lstStyle/>
          <a:p>
            <a:endParaRPr lang="en-US"/>
          </a:p>
        </p:txBody>
      </p:sp>
      <p:sp>
        <p:nvSpPr>
          <p:cNvPr id="7" name="Header Placeholder 6"/>
          <p:cNvSpPr>
            <a:spLocks noGrp="1"/>
          </p:cNvSpPr>
          <p:nvPr>
            <p:ph type="hdr" sz="quarter" idx="13"/>
          </p:nvPr>
        </p:nvSpPr>
        <p:spPr/>
        <p:txBody>
          <a:bodyPr/>
          <a:lstStyle/>
          <a:p>
            <a:endParaRPr lang="en-US"/>
          </a:p>
        </p:txBody>
      </p:sp>
    </p:spTree>
    <p:extLst>
      <p:ext uri="{BB962C8B-B14F-4D97-AF65-F5344CB8AC3E}">
        <p14:creationId xmlns:p14="http://schemas.microsoft.com/office/powerpoint/2010/main" val="18074761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solidFill>
                <a:prstClr val="black"/>
              </a:solidFill>
            </a:endParaRPr>
          </a:p>
        </p:txBody>
      </p:sp>
      <p:sp>
        <p:nvSpPr>
          <p:cNvPr id="5" name="Date Placeholder 4"/>
          <p:cNvSpPr>
            <a:spLocks noGrp="1"/>
          </p:cNvSpPr>
          <p:nvPr>
            <p:ph type="dt" idx="11"/>
          </p:nvPr>
        </p:nvSpPr>
        <p:spPr/>
        <p:txBody>
          <a:bodyPr/>
          <a:lstStyle/>
          <a:p>
            <a:pPr>
              <a:defRPr/>
            </a:pPr>
            <a:fld id="{C73D4111-AD8E-42CF-96F2-A31E2FA1FD75}" type="datetime1">
              <a:rPr lang="en-US" smtClean="0">
                <a:solidFill>
                  <a:prstClr val="black"/>
                </a:solidFill>
              </a:rPr>
              <a:t>9/28/2018</a:t>
            </a:fld>
            <a:endParaRPr lang="en-US" dirty="0">
              <a:solidFill>
                <a:prstClr val="black"/>
              </a:solidFill>
            </a:endParaRPr>
          </a:p>
        </p:txBody>
      </p:sp>
      <p:sp>
        <p:nvSpPr>
          <p:cNvPr id="6" name="Footer Placeholder 5"/>
          <p:cNvSpPr>
            <a:spLocks noGrp="1"/>
          </p:cNvSpPr>
          <p:nvPr>
            <p:ph type="ftr" sz="quarter" idx="12"/>
          </p:nvPr>
        </p:nvSpPr>
        <p:spPr/>
        <p:txBody>
          <a:bodyPr/>
          <a:lstStyle/>
          <a:p>
            <a:pPr>
              <a:defRPr/>
            </a:pPr>
            <a:endParaRPr lang="en-US" dirty="0">
              <a:solidFill>
                <a:prstClr val="black"/>
              </a:solidFill>
            </a:endParaRPr>
          </a:p>
        </p:txBody>
      </p:sp>
      <p:sp>
        <p:nvSpPr>
          <p:cNvPr id="7" name="Slide Number Placeholder 6"/>
          <p:cNvSpPr>
            <a:spLocks noGrp="1"/>
          </p:cNvSpPr>
          <p:nvPr>
            <p:ph type="sldNum" sz="quarter" idx="13"/>
          </p:nvPr>
        </p:nvSpPr>
        <p:spPr/>
        <p:txBody>
          <a:bodyPr/>
          <a:lstStyle/>
          <a:p>
            <a:pPr>
              <a:defRPr/>
            </a:pPr>
            <a:fld id="{F55EC67E-402D-4FA6-937E-816E25842894}" type="slidenum">
              <a:rPr lang="en-US" smtClean="0">
                <a:solidFill>
                  <a:prstClr val="black"/>
                </a:solidFill>
              </a:rPr>
              <a:pPr>
                <a:defRPr/>
              </a:pPr>
              <a:t>4</a:t>
            </a:fld>
            <a:endParaRPr lang="en-US" dirty="0">
              <a:solidFill>
                <a:prstClr val="black"/>
              </a:solidFill>
            </a:endParaRPr>
          </a:p>
        </p:txBody>
      </p:sp>
    </p:spTree>
    <p:extLst>
      <p:ext uri="{BB962C8B-B14F-4D97-AF65-F5344CB8AC3E}">
        <p14:creationId xmlns:p14="http://schemas.microsoft.com/office/powerpoint/2010/main" val="31784583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dirty="0"/>
              <a:t>Solid</a:t>
            </a:r>
            <a:r>
              <a:rPr lang="en-US" altLang="en-US" baseline="0" dirty="0"/>
              <a:t> fill boxes</a:t>
            </a:r>
          </a:p>
          <a:p>
            <a:pPr eaLnBrk="1" hangingPunct="1"/>
            <a:r>
              <a:rPr lang="en-US" altLang="en-US" baseline="0" dirty="0"/>
              <a:t>Light grey lines</a:t>
            </a:r>
            <a:endParaRPr lang="en-US" alt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30AD02-6CCC-4332-A30E-A32CA3C0F231}"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t>9/28/201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Footer Placeholder 5"/>
          <p:cNvSpPr>
            <a:spLocks noGrp="1"/>
          </p:cNvSpPr>
          <p:nvPr>
            <p:ph type="ft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5EC67E-402D-4FA6-937E-816E2584289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213680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dirty="0"/>
              <a:t>Solid</a:t>
            </a:r>
            <a:r>
              <a:rPr lang="en-US" altLang="en-US" baseline="0" dirty="0"/>
              <a:t> fill boxes</a:t>
            </a:r>
          </a:p>
          <a:p>
            <a:pPr eaLnBrk="1" hangingPunct="1"/>
            <a:r>
              <a:rPr lang="en-US" altLang="en-US" baseline="0" dirty="0"/>
              <a:t>Light grey lines</a:t>
            </a:r>
            <a:endParaRPr lang="en-US" alt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30AD02-6CCC-4332-A30E-A32CA3C0F231}"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t>9/28/201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Footer Placeholder 5"/>
          <p:cNvSpPr>
            <a:spLocks noGrp="1"/>
          </p:cNvSpPr>
          <p:nvPr>
            <p:ph type="ft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5EC67E-402D-4FA6-937E-816E2584289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34183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E61EB-621D-4DD7-BE0E-A76196D7453E}"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8/20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Footer Placeholder 5"/>
          <p:cNvSpPr>
            <a:spLocks noGrp="1"/>
          </p:cNvSpPr>
          <p:nvPr>
            <p:ph type="ft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5EC67E-402D-4FA6-937E-816E2584289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608683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4787946-F38A-442D-8B4B-7C33473CC735}" type="slidenum">
              <a:rPr lang="en-US" smtClean="0"/>
              <a:t>9</a:t>
            </a:fld>
            <a:endParaRPr lang="en-US"/>
          </a:p>
        </p:txBody>
      </p:sp>
    </p:spTree>
    <p:extLst>
      <p:ext uri="{BB962C8B-B14F-4D97-AF65-F5344CB8AC3E}">
        <p14:creationId xmlns:p14="http://schemas.microsoft.com/office/powerpoint/2010/main" val="13995246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Quote Sample</a:t>
            </a:r>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Date Placeholder 4"/>
          <p:cNvSpPr>
            <a:spLocks noGrp="1"/>
          </p:cNvSpPr>
          <p:nvPr>
            <p:ph type="dt" idx="11"/>
          </p:nvPr>
        </p:nvSpPr>
        <p:spPr/>
        <p:txBody>
          <a:bodyPr/>
          <a:lstStyle/>
          <a:p>
            <a:fld id="{8C405DF5-7DBE-44E8-B936-807B76E81164}" type="datetime1">
              <a:rPr lang="en-US" smtClean="0">
                <a:solidFill>
                  <a:prstClr val="black"/>
                </a:solidFill>
              </a:rPr>
              <a:t>9/28/2018</a:t>
            </a:fld>
            <a:endParaRPr lang="en-US">
              <a:solidFill>
                <a:prstClr val="black"/>
              </a:solidFill>
            </a:endParaRPr>
          </a:p>
        </p:txBody>
      </p:sp>
      <p:sp>
        <p:nvSpPr>
          <p:cNvPr id="6" name="Footer Placeholder 5"/>
          <p:cNvSpPr>
            <a:spLocks noGrp="1"/>
          </p:cNvSpPr>
          <p:nvPr>
            <p:ph type="ftr" sz="quarter" idx="12"/>
          </p:nvPr>
        </p:nvSpPr>
        <p:spPr/>
        <p:txBody>
          <a:bodyPr/>
          <a:lstStyle/>
          <a:p>
            <a:endParaRPr lang="en-US">
              <a:solidFill>
                <a:prstClr val="black"/>
              </a:solidFill>
            </a:endParaRPr>
          </a:p>
        </p:txBody>
      </p:sp>
      <p:sp>
        <p:nvSpPr>
          <p:cNvPr id="7" name="Slide Number Placeholder 6"/>
          <p:cNvSpPr>
            <a:spLocks noGrp="1"/>
          </p:cNvSpPr>
          <p:nvPr>
            <p:ph type="sldNum" sz="quarter" idx="13"/>
          </p:nvPr>
        </p:nvSpPr>
        <p:spPr/>
        <p:txBody>
          <a:bodyPr/>
          <a:lstStyle/>
          <a:p>
            <a:fld id="{F55EC67E-402D-4FA6-937E-816E25842894}"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27350431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hyperlink" Target="https://sp.slalom.com/ourfirm/studio/Templates/PowerPoint%20Tips%20and%20Tricks.pdf" TargetMode="External"/><Relationship Id="rId2" Type="http://schemas.openxmlformats.org/officeDocument/2006/relationships/hyperlink" Target="https://sp.slalom.com/ourfirm/studio/SitePages/templates.aspx" TargetMode="External"/><Relationship Id="rId1" Type="http://schemas.openxmlformats.org/officeDocument/2006/relationships/slideMaster" Target="../slideMasters/slideMaster1.xml"/><Relationship Id="rId4" Type="http://schemas.openxmlformats.org/officeDocument/2006/relationships/hyperlink" Target="mailto:thestudio@slalom.com" TargetMode="Externa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Slalom 2016 Base Template">
    <p:bg>
      <p:bgPr>
        <a:solidFill>
          <a:schemeClr val="tx1">
            <a:lumMod val="50000"/>
          </a:schemeClr>
        </a:solidFill>
        <a:effectLst/>
      </p:bgPr>
    </p:bg>
    <p:spTree>
      <p:nvGrpSpPr>
        <p:cNvPr id="1" name=""/>
        <p:cNvGrpSpPr/>
        <p:nvPr/>
      </p:nvGrpSpPr>
      <p:grpSpPr>
        <a:xfrm>
          <a:off x="0" y="0"/>
          <a:ext cx="0" cy="0"/>
          <a:chOff x="0" y="0"/>
          <a:chExt cx="0" cy="0"/>
        </a:xfrm>
      </p:grpSpPr>
      <p:sp>
        <p:nvSpPr>
          <p:cNvPr id="4" name="TextBox 3"/>
          <p:cNvSpPr txBox="1"/>
          <p:nvPr userDrawn="1"/>
        </p:nvSpPr>
        <p:spPr>
          <a:xfrm>
            <a:off x="476656" y="546221"/>
            <a:ext cx="8171233" cy="3453253"/>
          </a:xfrm>
          <a:prstGeom prst="rect">
            <a:avLst/>
          </a:prstGeom>
          <a:noFill/>
        </p:spPr>
        <p:txBody>
          <a:bodyPr wrap="square" rtlCol="0">
            <a:spAutoFit/>
          </a:bodyPr>
          <a:lstStyle/>
          <a:p>
            <a:pPr>
              <a:lnSpc>
                <a:spcPct val="90000"/>
              </a:lnSpc>
              <a:spcBef>
                <a:spcPts val="600"/>
              </a:spcBef>
              <a:buClr>
                <a:srgbClr val="CC0000"/>
              </a:buClr>
              <a:buSzPct val="110000"/>
            </a:pPr>
            <a:r>
              <a:rPr lang="en-US" sz="2000" b="0">
                <a:gradFill>
                  <a:gsLst>
                    <a:gs pos="0">
                      <a:schemeClr val="bg1"/>
                    </a:gs>
                    <a:gs pos="99000">
                      <a:schemeClr val="bg1"/>
                    </a:gs>
                  </a:gsLst>
                  <a:lin ang="5400000" scaled="0"/>
                </a:gradFill>
                <a:latin typeface="Arial" panose="020B0604020202020204" pitchFamily="34" charset="0"/>
                <a:cs typeface="Arial" panose="020B0604020202020204" pitchFamily="34" charset="0"/>
              </a:rPr>
              <a:t>Slalom 2016</a:t>
            </a:r>
            <a:r>
              <a:rPr lang="en-US" sz="2000" b="0" baseline="0">
                <a:gradFill>
                  <a:gsLst>
                    <a:gs pos="0">
                      <a:schemeClr val="bg1"/>
                    </a:gs>
                    <a:gs pos="99000">
                      <a:schemeClr val="bg1"/>
                    </a:gs>
                  </a:gsLst>
                  <a:lin ang="5400000" scaled="0"/>
                </a:gradFill>
                <a:latin typeface="Arial" panose="020B0604020202020204" pitchFamily="34" charset="0"/>
                <a:cs typeface="Arial" panose="020B0604020202020204" pitchFamily="34" charset="0"/>
              </a:rPr>
              <a:t> Base Template v01</a:t>
            </a:r>
          </a:p>
          <a:p>
            <a:pPr>
              <a:lnSpc>
                <a:spcPct val="90000"/>
              </a:lnSpc>
              <a:spcBef>
                <a:spcPts val="600"/>
              </a:spcBef>
              <a:buClr>
                <a:srgbClr val="CC0000"/>
              </a:buClr>
              <a:buSzPct val="110000"/>
            </a:pPr>
            <a:r>
              <a:rPr lang="en-US" sz="1200" b="0" baseline="0">
                <a:gradFill>
                  <a:gsLst>
                    <a:gs pos="0">
                      <a:schemeClr val="bg1"/>
                    </a:gs>
                    <a:gs pos="99000">
                      <a:schemeClr val="bg1"/>
                    </a:gs>
                  </a:gsLst>
                  <a:lin ang="5400000" scaled="0"/>
                </a:gradFill>
                <a:latin typeface="Arial" panose="020B0604020202020204" pitchFamily="34" charset="0"/>
                <a:cs typeface="Arial" panose="020B0604020202020204" pitchFamily="34" charset="0"/>
              </a:rPr>
              <a:t>Last updated: May 2016</a:t>
            </a:r>
          </a:p>
          <a:p>
            <a:pPr>
              <a:lnSpc>
                <a:spcPct val="90000"/>
              </a:lnSpc>
              <a:spcBef>
                <a:spcPts val="600"/>
              </a:spcBef>
              <a:buClr>
                <a:srgbClr val="CC0000"/>
              </a:buClr>
              <a:buSzPct val="110000"/>
            </a:pPr>
            <a:endParaRPr lang="en-US" sz="1200" b="0" baseline="0">
              <a:gradFill>
                <a:gsLst>
                  <a:gs pos="0">
                    <a:schemeClr val="bg1"/>
                  </a:gs>
                  <a:gs pos="99000">
                    <a:schemeClr val="bg1"/>
                  </a:gs>
                </a:gsLst>
                <a:lin ang="5400000" scaled="0"/>
              </a:gradFill>
              <a:latin typeface="Arial" panose="020B0604020202020204" pitchFamily="34" charset="0"/>
              <a:cs typeface="Arial" panose="020B0604020202020204" pitchFamily="34" charset="0"/>
            </a:endParaRPr>
          </a:p>
          <a:p>
            <a:pPr>
              <a:lnSpc>
                <a:spcPct val="90000"/>
              </a:lnSpc>
              <a:spcBef>
                <a:spcPts val="600"/>
              </a:spcBef>
              <a:buClr>
                <a:srgbClr val="CC0000"/>
              </a:buClr>
              <a:buSzPct val="110000"/>
            </a:pPr>
            <a:endParaRPr lang="en-US" sz="1200" b="0" baseline="0">
              <a:gradFill>
                <a:gsLst>
                  <a:gs pos="0">
                    <a:schemeClr val="bg1"/>
                  </a:gs>
                  <a:gs pos="99000">
                    <a:schemeClr val="bg1"/>
                  </a:gs>
                </a:gsLst>
                <a:lin ang="5400000" scaled="0"/>
              </a:gradFill>
              <a:latin typeface="Arial" panose="020B0604020202020204" pitchFamily="34" charset="0"/>
              <a:cs typeface="Arial" panose="020B0604020202020204" pitchFamily="34" charset="0"/>
            </a:endParaRPr>
          </a:p>
          <a:p>
            <a:pPr>
              <a:lnSpc>
                <a:spcPct val="90000"/>
              </a:lnSpc>
              <a:spcBef>
                <a:spcPts val="600"/>
              </a:spcBef>
              <a:buClr>
                <a:srgbClr val="CC0000"/>
              </a:buClr>
              <a:buSzPct val="110000"/>
            </a:pPr>
            <a:r>
              <a:rPr lang="en-US" sz="1200" b="0" baseline="0">
                <a:gradFill>
                  <a:gsLst>
                    <a:gs pos="0">
                      <a:schemeClr val="bg1"/>
                    </a:gs>
                    <a:gs pos="99000">
                      <a:schemeClr val="bg1"/>
                    </a:gs>
                  </a:gsLst>
                  <a:lin ang="5400000" scaled="0"/>
                </a:gradFill>
                <a:latin typeface="Arial" panose="020B0604020202020204" pitchFamily="34" charset="0"/>
                <a:cs typeface="Arial" panose="020B0604020202020204" pitchFamily="34" charset="0"/>
              </a:rPr>
              <a:t>To ensure you are using the most up-to-date Slalom branded templates visit the link listed below.</a:t>
            </a:r>
          </a:p>
          <a:p>
            <a:pPr>
              <a:lnSpc>
                <a:spcPct val="90000"/>
              </a:lnSpc>
              <a:spcBef>
                <a:spcPts val="600"/>
              </a:spcBef>
              <a:buClr>
                <a:srgbClr val="CC0000"/>
              </a:buClr>
              <a:buSzPct val="110000"/>
            </a:pPr>
            <a:r>
              <a:rPr lang="en-US" sz="1200" b="0">
                <a:gradFill>
                  <a:gsLst>
                    <a:gs pos="0">
                      <a:schemeClr val="bg1"/>
                    </a:gs>
                    <a:gs pos="99000">
                      <a:schemeClr val="bg1"/>
                    </a:gs>
                  </a:gsLst>
                  <a:lin ang="5400000" scaled="0"/>
                </a:gradFill>
                <a:latin typeface="Arial" panose="020B0604020202020204" pitchFamily="34" charset="0"/>
                <a:cs typeface="Arial" panose="020B0604020202020204" pitchFamily="34" charset="0"/>
                <a:hlinkClick r:id="rId2"/>
              </a:rPr>
              <a:t>https://sp.slalom.com/ourfirm/studio/SitePages/templates.aspx</a:t>
            </a:r>
            <a:endParaRPr lang="en-US" sz="1200" b="0">
              <a:gradFill>
                <a:gsLst>
                  <a:gs pos="0">
                    <a:schemeClr val="bg1"/>
                  </a:gs>
                  <a:gs pos="99000">
                    <a:schemeClr val="bg1"/>
                  </a:gs>
                </a:gsLst>
                <a:lin ang="5400000" scaled="0"/>
              </a:gradFill>
              <a:latin typeface="Arial" panose="020B0604020202020204" pitchFamily="34" charset="0"/>
              <a:cs typeface="Arial" panose="020B0604020202020204" pitchFamily="34" charset="0"/>
            </a:endParaRPr>
          </a:p>
          <a:p>
            <a:pPr>
              <a:lnSpc>
                <a:spcPct val="90000"/>
              </a:lnSpc>
              <a:spcBef>
                <a:spcPts val="600"/>
              </a:spcBef>
              <a:buClr>
                <a:srgbClr val="CC0000"/>
              </a:buClr>
              <a:buSzPct val="110000"/>
            </a:pPr>
            <a:endParaRPr lang="en-US" sz="1200" b="0">
              <a:gradFill>
                <a:gsLst>
                  <a:gs pos="0">
                    <a:schemeClr val="bg1"/>
                  </a:gs>
                  <a:gs pos="99000">
                    <a:schemeClr val="bg1"/>
                  </a:gs>
                </a:gsLst>
                <a:lin ang="5400000" scaled="0"/>
              </a:gradFill>
              <a:latin typeface="Arial" panose="020B0604020202020204" pitchFamily="34" charset="0"/>
              <a:cs typeface="Arial" panose="020B0604020202020204" pitchFamily="34" charset="0"/>
            </a:endParaRPr>
          </a:p>
          <a:p>
            <a:pPr>
              <a:lnSpc>
                <a:spcPct val="90000"/>
              </a:lnSpc>
              <a:spcBef>
                <a:spcPts val="600"/>
              </a:spcBef>
              <a:buClr>
                <a:srgbClr val="CC0000"/>
              </a:buClr>
              <a:buSzPct val="110000"/>
            </a:pPr>
            <a:r>
              <a:rPr lang="en-US" sz="1200" b="0">
                <a:gradFill>
                  <a:gsLst>
                    <a:gs pos="0">
                      <a:schemeClr val="bg1"/>
                    </a:gs>
                    <a:gs pos="99000">
                      <a:schemeClr val="bg1"/>
                    </a:gs>
                  </a:gsLst>
                  <a:lin ang="5400000" scaled="0"/>
                </a:gradFill>
                <a:latin typeface="Arial" panose="020B0604020202020204" pitchFamily="34" charset="0"/>
                <a:cs typeface="Arial" panose="020B0604020202020204" pitchFamily="34" charset="0"/>
              </a:rPr>
              <a:t>USE GUIDELINES</a:t>
            </a:r>
          </a:p>
          <a:p>
            <a:pPr>
              <a:lnSpc>
                <a:spcPct val="90000"/>
              </a:lnSpc>
              <a:spcBef>
                <a:spcPts val="600"/>
              </a:spcBef>
              <a:buClr>
                <a:srgbClr val="CC0000"/>
              </a:buClr>
              <a:buSzPct val="110000"/>
            </a:pPr>
            <a:r>
              <a:rPr lang="en-US" sz="1200" b="0">
                <a:gradFill>
                  <a:gsLst>
                    <a:gs pos="0">
                      <a:schemeClr val="bg1"/>
                    </a:gs>
                    <a:gs pos="99000">
                      <a:schemeClr val="bg1"/>
                    </a:gs>
                  </a:gsLst>
                  <a:lin ang="5400000" scaled="0"/>
                </a:gradFill>
                <a:latin typeface="Arial" panose="020B0604020202020204" pitchFamily="34" charset="0"/>
                <a:cs typeface="Arial" panose="020B0604020202020204" pitchFamily="34" charset="0"/>
              </a:rPr>
              <a:t>This template has been designed</a:t>
            </a:r>
            <a:r>
              <a:rPr lang="en-US" sz="1200" b="0" baseline="0">
                <a:gradFill>
                  <a:gsLst>
                    <a:gs pos="0">
                      <a:schemeClr val="bg1"/>
                    </a:gs>
                    <a:gs pos="99000">
                      <a:schemeClr val="bg1"/>
                    </a:gs>
                  </a:gsLst>
                  <a:lin ang="5400000" scaled="0"/>
                </a:gradFill>
                <a:latin typeface="Arial" panose="020B0604020202020204" pitchFamily="34" charset="0"/>
                <a:cs typeface="Arial" panose="020B0604020202020204" pitchFamily="34" charset="0"/>
              </a:rPr>
              <a:t> for use in Microsoft Office on a PC operating system. </a:t>
            </a:r>
          </a:p>
          <a:p>
            <a:pPr>
              <a:lnSpc>
                <a:spcPct val="90000"/>
              </a:lnSpc>
              <a:spcBef>
                <a:spcPts val="600"/>
              </a:spcBef>
              <a:buClr>
                <a:srgbClr val="CC0000"/>
              </a:buClr>
              <a:buSzPct val="110000"/>
            </a:pPr>
            <a:endParaRPr lang="en-US" sz="1200" b="0" baseline="0">
              <a:gradFill>
                <a:gsLst>
                  <a:gs pos="0">
                    <a:schemeClr val="bg1"/>
                  </a:gs>
                  <a:gs pos="99000">
                    <a:schemeClr val="bg1"/>
                  </a:gs>
                </a:gsLst>
                <a:lin ang="5400000" scaled="0"/>
              </a:gradFill>
              <a:latin typeface="Arial" panose="020B0604020202020204" pitchFamily="34" charset="0"/>
              <a:cs typeface="Arial" panose="020B0604020202020204" pitchFamily="34" charset="0"/>
            </a:endParaRPr>
          </a:p>
          <a:p>
            <a:pPr marL="0" marR="0" indent="0" algn="l" defTabSz="914400" rtl="0" eaLnBrk="1" fontAlgn="auto" latinLnBrk="0" hangingPunct="1">
              <a:lnSpc>
                <a:spcPct val="90000"/>
              </a:lnSpc>
              <a:spcBef>
                <a:spcPts val="600"/>
              </a:spcBef>
              <a:spcAft>
                <a:spcPts val="0"/>
              </a:spcAft>
              <a:buClr>
                <a:srgbClr val="CC0000"/>
              </a:buClr>
              <a:buSzPct val="110000"/>
              <a:buFontTx/>
              <a:buNone/>
              <a:tabLst/>
              <a:defRPr/>
            </a:pPr>
            <a:r>
              <a:rPr lang="en-US" sz="1200" b="0" baseline="0">
                <a:gradFill>
                  <a:gsLst>
                    <a:gs pos="0">
                      <a:schemeClr val="bg1"/>
                    </a:gs>
                    <a:gs pos="99000">
                      <a:schemeClr val="bg1"/>
                    </a:gs>
                  </a:gsLst>
                  <a:lin ang="5400000" scaled="0"/>
                </a:gradFill>
                <a:latin typeface="Arial" panose="020B0604020202020204" pitchFamily="34" charset="0"/>
                <a:cs typeface="Arial" panose="020B0604020202020204" pitchFamily="34" charset="0"/>
              </a:rPr>
              <a:t>For general presentations tips and tricks visit: </a:t>
            </a:r>
            <a:r>
              <a:rPr lang="en-US" sz="1200" b="0" baseline="0">
                <a:gradFill>
                  <a:gsLst>
                    <a:gs pos="0">
                      <a:schemeClr val="bg1"/>
                    </a:gs>
                    <a:gs pos="99000">
                      <a:schemeClr val="bg1"/>
                    </a:gs>
                  </a:gsLst>
                  <a:lin ang="5400000" scaled="0"/>
                </a:gradFill>
                <a:latin typeface="Arial" panose="020B0604020202020204" pitchFamily="34" charset="0"/>
                <a:cs typeface="Arial" panose="020B0604020202020204" pitchFamily="34" charset="0"/>
                <a:hlinkClick r:id="rId3" invalidUrl="https://sp.slalom.com/ourfirm/studio/Templates/PowerPoint Tips and Tricks.pdf"/>
              </a:rPr>
              <a:t>https://sp.slalom.com/ourfirm/studio/Templates/PowerPoint%20Tips%20and%20Tricks.pdf</a:t>
            </a:r>
            <a:endParaRPr lang="en-US" sz="1200" b="0" baseline="0">
              <a:gradFill>
                <a:gsLst>
                  <a:gs pos="0">
                    <a:schemeClr val="bg1"/>
                  </a:gs>
                  <a:gs pos="99000">
                    <a:schemeClr val="bg1"/>
                  </a:gs>
                </a:gsLst>
                <a:lin ang="5400000" scaled="0"/>
              </a:gradFill>
              <a:latin typeface="Arial" panose="020B0604020202020204" pitchFamily="34" charset="0"/>
              <a:cs typeface="Arial" panose="020B0604020202020204" pitchFamily="34" charset="0"/>
            </a:endParaRPr>
          </a:p>
          <a:p>
            <a:pPr marL="0" marR="0" indent="0" algn="l" defTabSz="914400" rtl="0" eaLnBrk="1" fontAlgn="auto" latinLnBrk="0" hangingPunct="1">
              <a:lnSpc>
                <a:spcPct val="90000"/>
              </a:lnSpc>
              <a:spcBef>
                <a:spcPts val="600"/>
              </a:spcBef>
              <a:spcAft>
                <a:spcPts val="0"/>
              </a:spcAft>
              <a:buClr>
                <a:srgbClr val="CC0000"/>
              </a:buClr>
              <a:buSzPct val="110000"/>
              <a:buFontTx/>
              <a:buNone/>
              <a:tabLst/>
              <a:defRPr/>
            </a:pPr>
            <a:endParaRPr lang="en-US" sz="1200" b="0" baseline="0">
              <a:gradFill>
                <a:gsLst>
                  <a:gs pos="0">
                    <a:schemeClr val="bg1"/>
                  </a:gs>
                  <a:gs pos="99000">
                    <a:schemeClr val="bg1"/>
                  </a:gs>
                </a:gsLst>
                <a:lin ang="5400000" scaled="0"/>
              </a:gradFill>
              <a:latin typeface="Arial" panose="020B0604020202020204" pitchFamily="34" charset="0"/>
              <a:cs typeface="Arial" panose="020B0604020202020204" pitchFamily="34" charset="0"/>
            </a:endParaRPr>
          </a:p>
          <a:p>
            <a:pPr marL="0" marR="0" indent="0" algn="l" defTabSz="914400" rtl="0" eaLnBrk="1" fontAlgn="auto" latinLnBrk="0" hangingPunct="1">
              <a:lnSpc>
                <a:spcPct val="90000"/>
              </a:lnSpc>
              <a:spcBef>
                <a:spcPts val="600"/>
              </a:spcBef>
              <a:spcAft>
                <a:spcPts val="0"/>
              </a:spcAft>
              <a:buClr>
                <a:srgbClr val="CC0000"/>
              </a:buClr>
              <a:buSzPct val="110000"/>
              <a:buFontTx/>
              <a:buNone/>
              <a:tabLst/>
              <a:defRPr/>
            </a:pPr>
            <a:r>
              <a:rPr lang="en-US" sz="1200" b="0" baseline="0">
                <a:gradFill>
                  <a:gsLst>
                    <a:gs pos="0">
                      <a:schemeClr val="bg1"/>
                    </a:gs>
                    <a:gs pos="99000">
                      <a:schemeClr val="bg1"/>
                    </a:gs>
                  </a:gsLst>
                  <a:lin ang="5400000" scaled="0"/>
                </a:gradFill>
                <a:latin typeface="Arial" panose="020B0604020202020204" pitchFamily="34" charset="0"/>
                <a:cs typeface="Arial" panose="020B0604020202020204" pitchFamily="34" charset="0"/>
              </a:rPr>
              <a:t>For questions about this template email: </a:t>
            </a:r>
            <a:r>
              <a:rPr lang="en-US" sz="1200" b="0" baseline="0">
                <a:gradFill>
                  <a:gsLst>
                    <a:gs pos="0">
                      <a:schemeClr val="bg1"/>
                    </a:gs>
                    <a:gs pos="99000">
                      <a:schemeClr val="bg1"/>
                    </a:gs>
                  </a:gsLst>
                  <a:lin ang="5400000" scaled="0"/>
                </a:gradFill>
                <a:latin typeface="Arial" panose="020B0604020202020204" pitchFamily="34" charset="0"/>
                <a:cs typeface="Arial" panose="020B0604020202020204" pitchFamily="34" charset="0"/>
                <a:hlinkClick r:id="rId4"/>
              </a:rPr>
              <a:t>thestudio@slalom.com</a:t>
            </a:r>
            <a:endParaRPr lang="en-US" sz="1200" b="0" baseline="0">
              <a:gradFill>
                <a:gsLst>
                  <a:gs pos="0">
                    <a:schemeClr val="bg1"/>
                  </a:gs>
                  <a:gs pos="99000">
                    <a:schemeClr val="bg1"/>
                  </a:gs>
                </a:gsLst>
                <a:lin ang="5400000" scaled="0"/>
              </a:gra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858015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Agenda Gray Background">
    <p:bg>
      <p:bgPr>
        <a:solidFill>
          <a:schemeClr val="tx1"/>
        </a:solidFill>
        <a:effectLst/>
      </p:bgPr>
    </p:bg>
    <p:spTree>
      <p:nvGrpSpPr>
        <p:cNvPr id="1" name=""/>
        <p:cNvGrpSpPr/>
        <p:nvPr/>
      </p:nvGrpSpPr>
      <p:grpSpPr>
        <a:xfrm>
          <a:off x="0" y="0"/>
          <a:ext cx="0" cy="0"/>
          <a:chOff x="0" y="0"/>
          <a:chExt cx="0" cy="0"/>
        </a:xfrm>
      </p:grpSpPr>
      <p:sp>
        <p:nvSpPr>
          <p:cNvPr id="11" name="TextBox 10"/>
          <p:cNvSpPr txBox="1"/>
          <p:nvPr/>
        </p:nvSpPr>
        <p:spPr>
          <a:xfrm>
            <a:off x="287792" y="4800737"/>
            <a:ext cx="592470" cy="138499"/>
          </a:xfrm>
          <a:prstGeom prst="rect">
            <a:avLst/>
          </a:prstGeom>
          <a:noFill/>
        </p:spPr>
        <p:txBody>
          <a:bodyPr wrap="none" lIns="0" bIns="0" rtlCol="0" anchor="b" anchorCtr="0">
            <a:spAutoFit/>
          </a:bodyPr>
          <a:lstStyle/>
          <a:p>
            <a:pPr defTabSz="685755"/>
            <a:r>
              <a:rPr lang="en-AU" sz="600" spc="75">
                <a:gradFill>
                  <a:gsLst>
                    <a:gs pos="7258">
                      <a:schemeClr val="bg1"/>
                    </a:gs>
                    <a:gs pos="19000">
                      <a:schemeClr val="bg1"/>
                    </a:gs>
                  </a:gsLst>
                  <a:lin ang="5400000" scaled="1"/>
                </a:gradFill>
                <a:latin typeface="Arial" panose="020B0604020202020204" pitchFamily="34" charset="0"/>
                <a:ea typeface="Roboto Light" panose="02000000000000000000" pitchFamily="2" charset="0"/>
                <a:cs typeface="Arial" panose="020B0604020202020204" pitchFamily="34" charset="0"/>
              </a:rPr>
              <a:t>slalom.com</a:t>
            </a:r>
          </a:p>
        </p:txBody>
      </p:sp>
      <p:sp>
        <p:nvSpPr>
          <p:cNvPr id="7" name="Slide Number Placeholder 5"/>
          <p:cNvSpPr>
            <a:spLocks noGrp="1"/>
          </p:cNvSpPr>
          <p:nvPr>
            <p:ph type="sldNum" sz="quarter" idx="12"/>
          </p:nvPr>
        </p:nvSpPr>
        <p:spPr>
          <a:xfrm>
            <a:off x="8533335" y="4838589"/>
            <a:ext cx="323309" cy="201168"/>
          </a:xfrm>
          <a:prstGeom prst="rect">
            <a:avLst/>
          </a:prstGeom>
        </p:spPr>
        <p:txBody>
          <a:bodyPr lIns="0" tIns="0" rIns="0" bIns="0"/>
          <a:lstStyle>
            <a:lvl1pPr algn="r">
              <a:defRPr sz="600">
                <a:gradFill>
                  <a:gsLst>
                    <a:gs pos="7258">
                      <a:schemeClr val="bg1"/>
                    </a:gs>
                    <a:gs pos="19000">
                      <a:schemeClr val="bg1"/>
                    </a:gs>
                  </a:gsLst>
                  <a:lin ang="5400000" scaled="1"/>
                </a:gradFill>
                <a:latin typeface="Arial" panose="020B0604020202020204" pitchFamily="34" charset="0"/>
                <a:ea typeface="Roboto Light" panose="02000000000000000000" pitchFamily="2" charset="0"/>
                <a:cs typeface="Arial" panose="020B0604020202020204" pitchFamily="34" charset="0"/>
              </a:defRPr>
            </a:lvl1pPr>
          </a:lstStyle>
          <a:p>
            <a:fld id="{FCEE2C88-6C8F-484D-AF69-578F576B1F44}" type="slidenum">
              <a:rPr lang="en-US" smtClean="0"/>
              <a:pPr/>
              <a:t>‹#›</a:t>
            </a:fld>
            <a:endParaRPr lang="en-US"/>
          </a:p>
        </p:txBody>
      </p:sp>
      <p:sp>
        <p:nvSpPr>
          <p:cNvPr id="5" name="Title Placeholder 1"/>
          <p:cNvSpPr>
            <a:spLocks noGrp="1"/>
          </p:cNvSpPr>
          <p:nvPr>
            <p:ph type="title" hasCustomPrompt="1"/>
          </p:nvPr>
        </p:nvSpPr>
        <p:spPr>
          <a:xfrm>
            <a:off x="725478" y="2384349"/>
            <a:ext cx="3949430" cy="374802"/>
          </a:xfrm>
          <a:prstGeom prst="rect">
            <a:avLst/>
          </a:prstGeom>
        </p:spPr>
        <p:txBody>
          <a:bodyPr vert="horz" lIns="0" tIns="45720" rIns="91440" bIns="45720" rtlCol="0" anchor="ctr">
            <a:noAutofit/>
          </a:bodyPr>
          <a:lstStyle>
            <a:lvl1pPr algn="l" defTabSz="685766" rtl="0" eaLnBrk="1" latinLnBrk="0" hangingPunct="1">
              <a:lnSpc>
                <a:spcPct val="90000"/>
              </a:lnSpc>
              <a:spcBef>
                <a:spcPct val="0"/>
              </a:spcBef>
              <a:buNone/>
              <a:defRPr lang="en-US" sz="3600" b="1" kern="1200" spc="-100" baseline="0" dirty="0">
                <a:gradFill>
                  <a:gsLst>
                    <a:gs pos="4839">
                      <a:schemeClr val="bg1"/>
                    </a:gs>
                    <a:gs pos="10000">
                      <a:schemeClr val="bg1"/>
                    </a:gs>
                  </a:gsLst>
                  <a:lin ang="5400000" scaled="1"/>
                </a:gradFill>
                <a:latin typeface="Arial" panose="020B0604020202020204" pitchFamily="34" charset="0"/>
                <a:ea typeface="Roboto Medium" panose="02000000000000000000" pitchFamily="2" charset="0"/>
                <a:cs typeface="Arial" panose="020B0604020202020204" pitchFamily="34" charset="0"/>
              </a:defRPr>
            </a:lvl1pPr>
          </a:lstStyle>
          <a:p>
            <a:r>
              <a:rPr lang="en-US" dirty="0"/>
              <a:t>Today’s Agenda</a:t>
            </a:r>
          </a:p>
        </p:txBody>
      </p:sp>
    </p:spTree>
    <p:extLst>
      <p:ext uri="{BB962C8B-B14F-4D97-AF65-F5344CB8AC3E}">
        <p14:creationId xmlns:p14="http://schemas.microsoft.com/office/powerpoint/2010/main" val="36842362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hotographic background">
    <p:bg>
      <p:bgPr>
        <a:solidFill>
          <a:srgbClr val="FFFFFF"/>
        </a:solidFill>
        <a:effectLst/>
      </p:bgPr>
    </p:bg>
    <p:spTree>
      <p:nvGrpSpPr>
        <p:cNvPr id="1" name=""/>
        <p:cNvGrpSpPr/>
        <p:nvPr/>
      </p:nvGrpSpPr>
      <p:grpSpPr>
        <a:xfrm>
          <a:off x="0" y="0"/>
          <a:ext cx="0" cy="0"/>
          <a:chOff x="0" y="0"/>
          <a:chExt cx="0" cy="0"/>
        </a:xfrm>
      </p:grpSpPr>
      <p:sp>
        <p:nvSpPr>
          <p:cNvPr id="9" name="Picture Placeholder 4"/>
          <p:cNvSpPr>
            <a:spLocks noGrp="1"/>
          </p:cNvSpPr>
          <p:nvPr>
            <p:ph type="pic" sz="quarter" idx="21"/>
          </p:nvPr>
        </p:nvSpPr>
        <p:spPr>
          <a:xfrm>
            <a:off x="0" y="0"/>
            <a:ext cx="9144000" cy="5143500"/>
          </a:xfrm>
          <a:prstGeom prst="rect">
            <a:avLst/>
          </a:prstGeom>
          <a:solidFill>
            <a:schemeClr val="bg1">
              <a:lumMod val="50000"/>
            </a:schemeClr>
          </a:solidFill>
        </p:spPr>
        <p:txBody>
          <a:bodyPr tIns="3383280"/>
          <a:lstStyle>
            <a:lvl1pPr marL="0" indent="0" algn="ctr">
              <a:buNone/>
              <a:defRPr sz="900" b="1" baseline="0">
                <a:gradFill>
                  <a:gsLst>
                    <a:gs pos="2419">
                      <a:schemeClr val="bg1"/>
                    </a:gs>
                    <a:gs pos="8000">
                      <a:schemeClr val="bg1"/>
                    </a:gs>
                  </a:gsLst>
                  <a:lin ang="5400000" scaled="0"/>
                </a:gradFill>
                <a:latin typeface="Arial" panose="020B0604020202020204" pitchFamily="34" charset="0"/>
                <a:cs typeface="Arial" panose="020B0604020202020204" pitchFamily="34" charset="0"/>
              </a:defRPr>
            </a:lvl1pPr>
          </a:lstStyle>
          <a:p>
            <a:pPr marL="0" lvl="0" indent="0" algn="ctr">
              <a:buNone/>
            </a:pPr>
            <a:r>
              <a:rPr lang="en-US"/>
              <a:t>Click icon to add picture</a:t>
            </a:r>
          </a:p>
        </p:txBody>
      </p:sp>
      <p:sp>
        <p:nvSpPr>
          <p:cNvPr id="7" name="Slide Number Placeholder 5"/>
          <p:cNvSpPr>
            <a:spLocks noGrp="1"/>
          </p:cNvSpPr>
          <p:nvPr>
            <p:ph type="sldNum" sz="quarter" idx="12"/>
          </p:nvPr>
        </p:nvSpPr>
        <p:spPr>
          <a:xfrm>
            <a:off x="8533335" y="4838589"/>
            <a:ext cx="323309" cy="201168"/>
          </a:xfrm>
          <a:prstGeom prst="rect">
            <a:avLst/>
          </a:prstGeom>
        </p:spPr>
        <p:txBody>
          <a:bodyPr lIns="0" tIns="0" rIns="0" bIns="0"/>
          <a:lstStyle>
            <a:lvl1pPr algn="r">
              <a:defRPr sz="600">
                <a:gradFill>
                  <a:gsLst>
                    <a:gs pos="7258">
                      <a:schemeClr val="bg1"/>
                    </a:gs>
                    <a:gs pos="19000">
                      <a:schemeClr val="bg1"/>
                    </a:gs>
                  </a:gsLst>
                  <a:lin ang="5400000" scaled="1"/>
                </a:gradFill>
                <a:latin typeface="Arial" panose="020B0604020202020204" pitchFamily="34" charset="0"/>
                <a:ea typeface="Roboto Light" panose="02000000000000000000" pitchFamily="2" charset="0"/>
                <a:cs typeface="Arial" panose="020B0604020202020204" pitchFamily="34" charset="0"/>
              </a:defRPr>
            </a:lvl1pPr>
          </a:lstStyle>
          <a:p>
            <a:fld id="{FCEE2C88-6C8F-484D-AF69-578F576B1F44}" type="slidenum">
              <a:rPr lang="en-US" smtClean="0"/>
              <a:pPr/>
              <a:t>‹#›</a:t>
            </a:fld>
            <a:endParaRPr lang="en-US"/>
          </a:p>
        </p:txBody>
      </p:sp>
      <p:sp>
        <p:nvSpPr>
          <p:cNvPr id="8" name="TextBox 7"/>
          <p:cNvSpPr txBox="1"/>
          <p:nvPr userDrawn="1"/>
        </p:nvSpPr>
        <p:spPr>
          <a:xfrm>
            <a:off x="304619" y="4800737"/>
            <a:ext cx="592470" cy="138499"/>
          </a:xfrm>
          <a:prstGeom prst="rect">
            <a:avLst/>
          </a:prstGeom>
          <a:noFill/>
        </p:spPr>
        <p:txBody>
          <a:bodyPr wrap="none" lIns="0" bIns="0" rtlCol="0" anchor="b" anchorCtr="0">
            <a:spAutoFit/>
          </a:bodyPr>
          <a:lstStyle/>
          <a:p>
            <a:pPr marL="0" algn="l" defTabSz="685755" rtl="0" eaLnBrk="1" latinLnBrk="0" hangingPunct="1"/>
            <a:r>
              <a:rPr lang="en-AU" sz="600" kern="1200" spc="75" baseline="0">
                <a:gradFill>
                  <a:gsLst>
                    <a:gs pos="7258">
                      <a:schemeClr val="bg1"/>
                    </a:gs>
                    <a:gs pos="19000">
                      <a:schemeClr val="bg1"/>
                    </a:gs>
                  </a:gsLst>
                  <a:lin ang="5400000" scaled="1"/>
                </a:gradFill>
                <a:latin typeface="Arial" panose="020B0604020202020204" pitchFamily="34" charset="0"/>
                <a:ea typeface="Roboto Light" panose="02000000000000000000" pitchFamily="2" charset="0"/>
                <a:cs typeface="Arial" panose="020B0604020202020204" pitchFamily="34" charset="0"/>
              </a:rPr>
              <a:t>slalom.com</a:t>
            </a:r>
          </a:p>
        </p:txBody>
      </p:sp>
    </p:spTree>
    <p:extLst>
      <p:ext uri="{BB962C8B-B14F-4D97-AF65-F5344CB8AC3E}">
        <p14:creationId xmlns:p14="http://schemas.microsoft.com/office/powerpoint/2010/main" val="38051400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_Subtitle">
    <p:bg>
      <p:bgPr>
        <a:solidFill>
          <a:schemeClr val="accent2"/>
        </a:solidFill>
        <a:effectLst/>
      </p:bgPr>
    </p:bg>
    <p:spTree>
      <p:nvGrpSpPr>
        <p:cNvPr id="1" name=""/>
        <p:cNvGrpSpPr/>
        <p:nvPr/>
      </p:nvGrpSpPr>
      <p:grpSpPr>
        <a:xfrm>
          <a:off x="0" y="0"/>
          <a:ext cx="0" cy="0"/>
          <a:chOff x="0" y="0"/>
          <a:chExt cx="0" cy="0"/>
        </a:xfrm>
      </p:grpSpPr>
      <p:sp>
        <p:nvSpPr>
          <p:cNvPr id="10" name="Slide Number Placeholder 5"/>
          <p:cNvSpPr>
            <a:spLocks noGrp="1"/>
          </p:cNvSpPr>
          <p:nvPr>
            <p:ph type="sldNum" sz="quarter" idx="12"/>
          </p:nvPr>
        </p:nvSpPr>
        <p:spPr>
          <a:xfrm>
            <a:off x="8533335" y="4845467"/>
            <a:ext cx="323309" cy="199474"/>
          </a:xfrm>
          <a:prstGeom prst="rect">
            <a:avLst/>
          </a:prstGeom>
        </p:spPr>
        <p:txBody>
          <a:bodyPr lIns="0" tIns="0" rIns="0" bIns="0"/>
          <a:lstStyle>
            <a:lvl1pPr algn="r">
              <a:defRPr sz="600">
                <a:solidFill>
                  <a:schemeClr val="bg1"/>
                </a:solidFill>
                <a:latin typeface="Arial" panose="020B0604020202020204" pitchFamily="34" charset="0"/>
                <a:ea typeface="Roboto Light" panose="02000000000000000000" pitchFamily="2" charset="0"/>
                <a:cs typeface="Arial" panose="020B0604020202020204" pitchFamily="34" charset="0"/>
              </a:defRPr>
            </a:lvl1pPr>
          </a:lstStyle>
          <a:p>
            <a:fld id="{FCEE2C88-6C8F-484D-AF69-578F576B1F44}" type="slidenum">
              <a:rPr lang="en-US" smtClean="0"/>
              <a:pPr/>
              <a:t>‹#›</a:t>
            </a:fld>
            <a:endParaRPr lang="en-US"/>
          </a:p>
        </p:txBody>
      </p:sp>
      <p:sp>
        <p:nvSpPr>
          <p:cNvPr id="6" name="TextBox 5"/>
          <p:cNvSpPr txBox="1"/>
          <p:nvPr userDrawn="1"/>
        </p:nvSpPr>
        <p:spPr>
          <a:xfrm>
            <a:off x="287792" y="4800737"/>
            <a:ext cx="592470" cy="138499"/>
          </a:xfrm>
          <a:prstGeom prst="rect">
            <a:avLst/>
          </a:prstGeom>
          <a:noFill/>
        </p:spPr>
        <p:txBody>
          <a:bodyPr wrap="none" lIns="0" bIns="0" rtlCol="0" anchor="b" anchorCtr="0">
            <a:spAutoFit/>
          </a:bodyPr>
          <a:lstStyle/>
          <a:p>
            <a:pPr defTabSz="685755"/>
            <a:r>
              <a:rPr lang="en-AU" sz="600" spc="75">
                <a:solidFill>
                  <a:schemeClr val="bg1"/>
                </a:solidFill>
                <a:latin typeface="Arial" panose="020B0604020202020204" pitchFamily="34" charset="0"/>
                <a:ea typeface="Roboto Light" panose="02000000000000000000" pitchFamily="2" charset="0"/>
                <a:cs typeface="Arial" panose="020B0604020202020204" pitchFamily="34" charset="0"/>
              </a:rPr>
              <a:t>slalom.com</a:t>
            </a:r>
          </a:p>
        </p:txBody>
      </p:sp>
      <p:sp>
        <p:nvSpPr>
          <p:cNvPr id="8" name="Text Placeholder 10"/>
          <p:cNvSpPr>
            <a:spLocks noGrp="1"/>
          </p:cNvSpPr>
          <p:nvPr>
            <p:ph type="body" sz="quarter" idx="14" hasCustomPrompt="1"/>
          </p:nvPr>
        </p:nvSpPr>
        <p:spPr>
          <a:xfrm>
            <a:off x="304801" y="325090"/>
            <a:ext cx="8534400" cy="337614"/>
          </a:xfrm>
        </p:spPr>
        <p:txBody>
          <a:bodyPr vert="horz" wrap="square" lIns="0" tIns="0" rIns="0" bIns="0" rtlCol="0">
            <a:noAutofit/>
          </a:bodyPr>
          <a:lstStyle>
            <a:lvl1pPr marL="285750" indent="-285750">
              <a:buFont typeface="Arial" panose="020B0604020202020204" pitchFamily="34" charset="0"/>
              <a:buNone/>
              <a:defRPr lang="en-US" sz="2400" b="0" kern="0" spc="-70" baseline="0" dirty="0">
                <a:solidFill>
                  <a:schemeClr val="bg1"/>
                </a:solidFill>
                <a:latin typeface="Arial" panose="020B0604020202020204" pitchFamily="34" charset="0"/>
                <a:ea typeface="Roboto Medium" panose="02000000000000000000" pitchFamily="2" charset="0"/>
                <a:cs typeface="Arial" panose="020B0604020202020204" pitchFamily="34" charset="0"/>
              </a:defRPr>
            </a:lvl1pPr>
          </a:lstStyle>
          <a:p>
            <a:pPr marL="0" lvl="0" indent="0" algn="l" defTabSz="914400" rtl="0" eaLnBrk="1" latinLnBrk="0" hangingPunct="1">
              <a:lnSpc>
                <a:spcPct val="90000"/>
              </a:lnSpc>
              <a:spcBef>
                <a:spcPts val="1200"/>
              </a:spcBef>
              <a:buClr>
                <a:srgbClr val="0072C8"/>
              </a:buClr>
              <a:buSzPct val="110000"/>
              <a:buFont typeface="Arial" panose="020B0604020202020204" pitchFamily="34" charset="0"/>
              <a:buNone/>
            </a:pPr>
            <a:r>
              <a:rPr lang="en-US" dirty="0"/>
              <a:t>Insert slide title here</a:t>
            </a:r>
          </a:p>
        </p:txBody>
      </p:sp>
      <p:sp>
        <p:nvSpPr>
          <p:cNvPr id="11" name="Text Placeholder 4"/>
          <p:cNvSpPr>
            <a:spLocks noGrp="1"/>
          </p:cNvSpPr>
          <p:nvPr>
            <p:ph type="body" sz="quarter" idx="16"/>
          </p:nvPr>
        </p:nvSpPr>
        <p:spPr>
          <a:xfrm>
            <a:off x="312788" y="771212"/>
            <a:ext cx="8524151" cy="170816"/>
          </a:xfrm>
        </p:spPr>
        <p:txBody>
          <a:bodyPr tIns="0"/>
          <a:lstStyle>
            <a:lvl1pPr marL="0" indent="0">
              <a:buNone/>
              <a:defRPr lang="en-US" sz="1100" kern="1200" spc="40" baseline="0" dirty="0" smtClean="0">
                <a:solidFill>
                  <a:schemeClr val="bg1"/>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dirty="0"/>
              <a:t>Click to edit Master text styles</a:t>
            </a:r>
          </a:p>
        </p:txBody>
      </p:sp>
    </p:spTree>
    <p:extLst>
      <p:ext uri="{BB962C8B-B14F-4D97-AF65-F5344CB8AC3E}">
        <p14:creationId xmlns:p14="http://schemas.microsoft.com/office/powerpoint/2010/main" val="7605275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_Subtitle">
    <p:bg>
      <p:bgPr>
        <a:solidFill>
          <a:srgbClr val="FFFFFF"/>
        </a:solidFill>
        <a:effectLst/>
      </p:bgPr>
    </p:bg>
    <p:spTree>
      <p:nvGrpSpPr>
        <p:cNvPr id="1" name=""/>
        <p:cNvGrpSpPr/>
        <p:nvPr/>
      </p:nvGrpSpPr>
      <p:grpSpPr>
        <a:xfrm>
          <a:off x="0" y="0"/>
          <a:ext cx="0" cy="0"/>
          <a:chOff x="0" y="0"/>
          <a:chExt cx="0" cy="0"/>
        </a:xfrm>
      </p:grpSpPr>
      <p:sp>
        <p:nvSpPr>
          <p:cNvPr id="10" name="Slide Number Placeholder 5"/>
          <p:cNvSpPr>
            <a:spLocks noGrp="1"/>
          </p:cNvSpPr>
          <p:nvPr>
            <p:ph type="sldNum" sz="quarter" idx="12"/>
          </p:nvPr>
        </p:nvSpPr>
        <p:spPr>
          <a:xfrm>
            <a:off x="8533335" y="4845467"/>
            <a:ext cx="323309" cy="199474"/>
          </a:xfrm>
          <a:prstGeom prst="rect">
            <a:avLst/>
          </a:prstGeom>
        </p:spPr>
        <p:txBody>
          <a:bodyPr lIns="0" tIns="0" rIns="0" bIns="0"/>
          <a:lstStyle>
            <a:lvl1pPr algn="r">
              <a:defRPr sz="600">
                <a:gradFill>
                  <a:gsLst>
                    <a:gs pos="7258">
                      <a:schemeClr val="accent2"/>
                    </a:gs>
                    <a:gs pos="19000">
                      <a:schemeClr val="accent2"/>
                    </a:gs>
                  </a:gsLst>
                  <a:lin ang="5400000" scaled="1"/>
                </a:gradFill>
                <a:latin typeface="Arial" panose="020B0604020202020204" pitchFamily="34" charset="0"/>
                <a:ea typeface="Roboto Light" panose="02000000000000000000" pitchFamily="2" charset="0"/>
                <a:cs typeface="Arial" panose="020B0604020202020204" pitchFamily="34" charset="0"/>
              </a:defRPr>
            </a:lvl1pPr>
          </a:lstStyle>
          <a:p>
            <a:fld id="{FCEE2C88-6C8F-484D-AF69-578F576B1F44}" type="slidenum">
              <a:rPr lang="en-US" smtClean="0"/>
              <a:pPr/>
              <a:t>‹#›</a:t>
            </a:fld>
            <a:endParaRPr lang="en-US"/>
          </a:p>
        </p:txBody>
      </p:sp>
      <p:sp>
        <p:nvSpPr>
          <p:cNvPr id="5" name="Text Placeholder 10"/>
          <p:cNvSpPr>
            <a:spLocks noGrp="1"/>
          </p:cNvSpPr>
          <p:nvPr>
            <p:ph type="body" sz="quarter" idx="14" hasCustomPrompt="1"/>
          </p:nvPr>
        </p:nvSpPr>
        <p:spPr>
          <a:xfrm>
            <a:off x="304801" y="325090"/>
            <a:ext cx="8534400" cy="337614"/>
          </a:xfrm>
        </p:spPr>
        <p:txBody>
          <a:bodyPr vert="horz" wrap="square" lIns="0" tIns="0" rIns="0" bIns="0" rtlCol="0">
            <a:noAutofit/>
          </a:bodyPr>
          <a:lstStyle>
            <a:lvl1pPr marL="285750" indent="-285750">
              <a:buFont typeface="Arial" panose="020B0604020202020204" pitchFamily="34" charset="0"/>
              <a:buNone/>
              <a:defRPr lang="en-US" sz="2400" b="0" kern="0" spc="-70" baseline="0" dirty="0">
                <a:gradFill>
                  <a:gsLst>
                    <a:gs pos="2419">
                      <a:schemeClr val="accent2"/>
                    </a:gs>
                    <a:gs pos="7000">
                      <a:schemeClr val="accent2"/>
                    </a:gs>
                  </a:gsLst>
                  <a:lin ang="5400000" scaled="1"/>
                </a:gradFill>
                <a:latin typeface="Arial" panose="020B0604020202020204" pitchFamily="34" charset="0"/>
                <a:ea typeface="Roboto Medium" panose="02000000000000000000" pitchFamily="2" charset="0"/>
                <a:cs typeface="Arial" panose="020B0604020202020204" pitchFamily="34" charset="0"/>
              </a:defRPr>
            </a:lvl1pPr>
          </a:lstStyle>
          <a:p>
            <a:pPr marL="0" lvl="0" indent="0" algn="l" defTabSz="914400" rtl="0" eaLnBrk="1" latinLnBrk="0" hangingPunct="1">
              <a:lnSpc>
                <a:spcPct val="90000"/>
              </a:lnSpc>
              <a:spcBef>
                <a:spcPts val="1200"/>
              </a:spcBef>
              <a:buClr>
                <a:srgbClr val="0072C8"/>
              </a:buClr>
              <a:buSzPct val="110000"/>
              <a:buFont typeface="Arial" panose="020B0604020202020204" pitchFamily="34" charset="0"/>
              <a:buNone/>
            </a:pPr>
            <a:r>
              <a:rPr lang="en-US" dirty="0"/>
              <a:t>Insert slide title here</a:t>
            </a:r>
          </a:p>
        </p:txBody>
      </p:sp>
      <p:sp>
        <p:nvSpPr>
          <p:cNvPr id="8" name="Text Placeholder 4"/>
          <p:cNvSpPr>
            <a:spLocks noGrp="1"/>
          </p:cNvSpPr>
          <p:nvPr>
            <p:ph type="body" sz="quarter" idx="16"/>
          </p:nvPr>
        </p:nvSpPr>
        <p:spPr>
          <a:xfrm>
            <a:off x="312788" y="771212"/>
            <a:ext cx="8524151" cy="170816"/>
          </a:xfrm>
        </p:spPr>
        <p:txBody>
          <a:bodyPr tIns="0"/>
          <a:lstStyle>
            <a:lvl1pPr marL="0" indent="0">
              <a:buNone/>
              <a:defRPr lang="en-US" sz="1100" kern="1200" spc="40" baseline="0" dirty="0" smtClean="0">
                <a:gradFill>
                  <a:gsLst>
                    <a:gs pos="2419">
                      <a:schemeClr val="bg1">
                        <a:lumMod val="50000"/>
                      </a:schemeClr>
                    </a:gs>
                    <a:gs pos="8000">
                      <a:schemeClr val="bg1">
                        <a:lumMod val="50000"/>
                      </a:schemeClr>
                    </a:gs>
                  </a:gsLst>
                  <a:lin ang="5400000" scaled="0"/>
                </a:gra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dirty="0"/>
              <a:t>Click to edit Master text styles</a:t>
            </a:r>
          </a:p>
        </p:txBody>
      </p:sp>
      <p:sp>
        <p:nvSpPr>
          <p:cNvPr id="6" name="TextBox 5"/>
          <p:cNvSpPr txBox="1"/>
          <p:nvPr userDrawn="1"/>
        </p:nvSpPr>
        <p:spPr>
          <a:xfrm>
            <a:off x="304800" y="4800737"/>
            <a:ext cx="592470" cy="138499"/>
          </a:xfrm>
          <a:prstGeom prst="rect">
            <a:avLst/>
          </a:prstGeom>
          <a:noFill/>
        </p:spPr>
        <p:txBody>
          <a:bodyPr wrap="none" lIns="0" bIns="0" rtlCol="0" anchor="b" anchorCtr="0">
            <a:spAutoFit/>
          </a:bodyPr>
          <a:lstStyle/>
          <a:p>
            <a:pPr defTabSz="685755"/>
            <a:r>
              <a:rPr lang="en-AU" sz="600" spc="75">
                <a:gradFill>
                  <a:gsLst>
                    <a:gs pos="7258">
                      <a:schemeClr val="accent2"/>
                    </a:gs>
                    <a:gs pos="19000">
                      <a:schemeClr val="accent2"/>
                    </a:gs>
                  </a:gsLst>
                  <a:lin ang="5400000" scaled="1"/>
                </a:gradFill>
                <a:latin typeface="Arial" panose="020B0604020202020204" pitchFamily="34" charset="0"/>
                <a:ea typeface="Roboto Light" panose="02000000000000000000" pitchFamily="2" charset="0"/>
                <a:cs typeface="Arial" panose="020B0604020202020204" pitchFamily="34" charset="0"/>
              </a:rPr>
              <a:t>slalom.com</a:t>
            </a:r>
          </a:p>
        </p:txBody>
      </p:sp>
    </p:spTree>
    <p:extLst>
      <p:ext uri="{BB962C8B-B14F-4D97-AF65-F5344CB8AC3E}">
        <p14:creationId xmlns:p14="http://schemas.microsoft.com/office/powerpoint/2010/main" val="36669522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Left Aligned Title and Subtitle">
    <p:bg>
      <p:bgPr>
        <a:solidFill>
          <a:srgbClr val="FFFFFF"/>
        </a:solidFill>
        <a:effectLst/>
      </p:bgPr>
    </p:bg>
    <p:spTree>
      <p:nvGrpSpPr>
        <p:cNvPr id="1" name=""/>
        <p:cNvGrpSpPr/>
        <p:nvPr/>
      </p:nvGrpSpPr>
      <p:grpSpPr>
        <a:xfrm>
          <a:off x="0" y="0"/>
          <a:ext cx="0" cy="0"/>
          <a:chOff x="0" y="0"/>
          <a:chExt cx="0" cy="0"/>
        </a:xfrm>
      </p:grpSpPr>
      <p:sp>
        <p:nvSpPr>
          <p:cNvPr id="16" name="Slide Number Placeholder 5"/>
          <p:cNvSpPr>
            <a:spLocks noGrp="1"/>
          </p:cNvSpPr>
          <p:nvPr>
            <p:ph type="sldNum" sz="quarter" idx="12"/>
          </p:nvPr>
        </p:nvSpPr>
        <p:spPr>
          <a:xfrm>
            <a:off x="8533335" y="4847135"/>
            <a:ext cx="323309" cy="201168"/>
          </a:xfrm>
          <a:prstGeom prst="rect">
            <a:avLst/>
          </a:prstGeom>
        </p:spPr>
        <p:txBody>
          <a:bodyPr lIns="0" tIns="0" rIns="0" bIns="0"/>
          <a:lstStyle>
            <a:lvl1pPr algn="r">
              <a:defRPr lang="en-US" sz="600" smtClean="0"/>
            </a:lvl1pPr>
          </a:lstStyle>
          <a:p>
            <a:fld id="{DCF0B2EB-ADD0-4300-9191-3212D50B556E}" type="slidenum">
              <a:rPr lang="en-US" smtClean="0"/>
              <a:pPr/>
              <a:t>‹#›</a:t>
            </a:fld>
            <a:endParaRPr lang="en-US"/>
          </a:p>
        </p:txBody>
      </p:sp>
      <p:sp>
        <p:nvSpPr>
          <p:cNvPr id="9" name="Content Placeholder 2"/>
          <p:cNvSpPr>
            <a:spLocks noGrp="1"/>
          </p:cNvSpPr>
          <p:nvPr>
            <p:ph sz="quarter" idx="17" hasCustomPrompt="1"/>
          </p:nvPr>
        </p:nvSpPr>
        <p:spPr>
          <a:xfrm>
            <a:off x="312789" y="1259023"/>
            <a:ext cx="4087762" cy="3333147"/>
          </a:xfrm>
        </p:spPr>
        <p:txBody>
          <a:bodyPr>
            <a:noAutofit/>
          </a:bodyPr>
          <a:lstStyle>
            <a:lvl1pPr>
              <a:defRPr baseline="0"/>
            </a:lvl1pPr>
          </a:lstStyle>
          <a:p>
            <a:pPr lvl="0"/>
            <a:r>
              <a:rPr lang="en-US" dirty="0"/>
              <a:t>Click and type to add content or click icon to insert content</a:t>
            </a:r>
          </a:p>
        </p:txBody>
      </p:sp>
      <p:sp>
        <p:nvSpPr>
          <p:cNvPr id="8" name="Content Placeholder 2"/>
          <p:cNvSpPr>
            <a:spLocks noGrp="1"/>
          </p:cNvSpPr>
          <p:nvPr>
            <p:ph sz="quarter" idx="18" hasCustomPrompt="1"/>
          </p:nvPr>
        </p:nvSpPr>
        <p:spPr>
          <a:xfrm>
            <a:off x="4749177" y="1259023"/>
            <a:ext cx="4087762" cy="3333147"/>
          </a:xfrm>
        </p:spPr>
        <p:txBody>
          <a:bodyPr>
            <a:noAutofit/>
          </a:bodyPr>
          <a:lstStyle>
            <a:lvl1pPr>
              <a:defRPr baseline="0"/>
            </a:lvl1pPr>
          </a:lstStyle>
          <a:p>
            <a:pPr lvl="0"/>
            <a:r>
              <a:rPr lang="en-US" dirty="0"/>
              <a:t>Click and type to add content or click icon to insert content</a:t>
            </a:r>
          </a:p>
        </p:txBody>
      </p:sp>
      <p:sp>
        <p:nvSpPr>
          <p:cNvPr id="14" name="Text Placeholder 10"/>
          <p:cNvSpPr>
            <a:spLocks noGrp="1"/>
          </p:cNvSpPr>
          <p:nvPr>
            <p:ph type="body" sz="quarter" idx="14" hasCustomPrompt="1"/>
          </p:nvPr>
        </p:nvSpPr>
        <p:spPr>
          <a:xfrm>
            <a:off x="304801" y="325090"/>
            <a:ext cx="8534400" cy="337614"/>
          </a:xfrm>
        </p:spPr>
        <p:txBody>
          <a:bodyPr vert="horz" wrap="square" lIns="0" tIns="0" rIns="0" bIns="0" rtlCol="0">
            <a:noAutofit/>
          </a:bodyPr>
          <a:lstStyle>
            <a:lvl1pPr marL="285750" indent="-285750">
              <a:buFont typeface="Arial" panose="020B0604020202020204" pitchFamily="34" charset="0"/>
              <a:buNone/>
              <a:defRPr lang="en-US" sz="2400" b="0" kern="0" spc="-70" baseline="0" dirty="0">
                <a:gradFill>
                  <a:gsLst>
                    <a:gs pos="2419">
                      <a:schemeClr val="accent2"/>
                    </a:gs>
                    <a:gs pos="7000">
                      <a:schemeClr val="accent2"/>
                    </a:gs>
                  </a:gsLst>
                  <a:lin ang="5400000" scaled="1"/>
                </a:gradFill>
                <a:latin typeface="Arial" panose="020B0604020202020204" pitchFamily="34" charset="0"/>
                <a:ea typeface="Roboto Medium" panose="02000000000000000000" pitchFamily="2" charset="0"/>
                <a:cs typeface="Arial" panose="020B0604020202020204" pitchFamily="34" charset="0"/>
              </a:defRPr>
            </a:lvl1pPr>
          </a:lstStyle>
          <a:p>
            <a:pPr marL="0" lvl="0" indent="0" algn="l" defTabSz="914400" rtl="0" eaLnBrk="1" latinLnBrk="0" hangingPunct="1">
              <a:lnSpc>
                <a:spcPct val="90000"/>
              </a:lnSpc>
              <a:spcBef>
                <a:spcPts val="1200"/>
              </a:spcBef>
              <a:buClr>
                <a:srgbClr val="0072C8"/>
              </a:buClr>
              <a:buSzPct val="110000"/>
              <a:buFont typeface="Arial" panose="020B0604020202020204" pitchFamily="34" charset="0"/>
              <a:buNone/>
            </a:pPr>
            <a:r>
              <a:rPr lang="en-US" dirty="0"/>
              <a:t>Insert slide title here</a:t>
            </a:r>
          </a:p>
        </p:txBody>
      </p:sp>
      <p:sp>
        <p:nvSpPr>
          <p:cNvPr id="15" name="Text Placeholder 4"/>
          <p:cNvSpPr>
            <a:spLocks noGrp="1"/>
          </p:cNvSpPr>
          <p:nvPr>
            <p:ph type="body" sz="quarter" idx="16"/>
          </p:nvPr>
        </p:nvSpPr>
        <p:spPr>
          <a:xfrm>
            <a:off x="312788" y="771212"/>
            <a:ext cx="8524151" cy="170816"/>
          </a:xfrm>
        </p:spPr>
        <p:txBody>
          <a:bodyPr tIns="0"/>
          <a:lstStyle>
            <a:lvl1pPr marL="0" indent="0">
              <a:buNone/>
              <a:defRPr lang="en-US" sz="1100" kern="1200" spc="40" baseline="0" dirty="0" smtClean="0">
                <a:gradFill>
                  <a:gsLst>
                    <a:gs pos="2419">
                      <a:schemeClr val="bg1">
                        <a:lumMod val="50000"/>
                      </a:schemeClr>
                    </a:gs>
                    <a:gs pos="8000">
                      <a:schemeClr val="bg1">
                        <a:lumMod val="50000"/>
                      </a:schemeClr>
                    </a:gs>
                  </a:gsLst>
                  <a:lin ang="5400000" scaled="0"/>
                </a:gra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dirty="0"/>
              <a:t>Click to edit Master text styles</a:t>
            </a:r>
          </a:p>
        </p:txBody>
      </p:sp>
      <p:sp>
        <p:nvSpPr>
          <p:cNvPr id="7" name="TextBox 6"/>
          <p:cNvSpPr txBox="1"/>
          <p:nvPr userDrawn="1"/>
        </p:nvSpPr>
        <p:spPr>
          <a:xfrm>
            <a:off x="304800" y="4800737"/>
            <a:ext cx="592470" cy="138499"/>
          </a:xfrm>
          <a:prstGeom prst="rect">
            <a:avLst/>
          </a:prstGeom>
          <a:noFill/>
        </p:spPr>
        <p:txBody>
          <a:bodyPr wrap="none" lIns="0" bIns="0" rtlCol="0" anchor="b" anchorCtr="0">
            <a:spAutoFit/>
          </a:bodyPr>
          <a:lstStyle/>
          <a:p>
            <a:pPr defTabSz="685755"/>
            <a:r>
              <a:rPr lang="en-AU" sz="600" spc="75">
                <a:gradFill>
                  <a:gsLst>
                    <a:gs pos="7258">
                      <a:schemeClr val="accent2"/>
                    </a:gs>
                    <a:gs pos="19000">
                      <a:schemeClr val="accent2"/>
                    </a:gs>
                  </a:gsLst>
                  <a:lin ang="5400000" scaled="1"/>
                </a:gradFill>
                <a:latin typeface="Arial" panose="020B0604020202020204" pitchFamily="34" charset="0"/>
                <a:ea typeface="Roboto Light" panose="02000000000000000000" pitchFamily="2" charset="0"/>
                <a:cs typeface="Arial" panose="020B0604020202020204" pitchFamily="34" charset="0"/>
              </a:rPr>
              <a:t>slalom.com</a:t>
            </a:r>
          </a:p>
        </p:txBody>
      </p:sp>
    </p:spTree>
    <p:extLst>
      <p:ext uri="{BB962C8B-B14F-4D97-AF65-F5344CB8AC3E}">
        <p14:creationId xmlns:p14="http://schemas.microsoft.com/office/powerpoint/2010/main" val="39440742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ork Example 1">
    <p:bg>
      <p:bgPr>
        <a:solidFill>
          <a:srgbClr val="FFFFFF"/>
        </a:solidFill>
        <a:effectLst/>
      </p:bgPr>
    </p:bg>
    <p:spTree>
      <p:nvGrpSpPr>
        <p:cNvPr id="1" name=""/>
        <p:cNvGrpSpPr/>
        <p:nvPr/>
      </p:nvGrpSpPr>
      <p:grpSpPr>
        <a:xfrm>
          <a:off x="0" y="0"/>
          <a:ext cx="0" cy="0"/>
          <a:chOff x="0" y="0"/>
          <a:chExt cx="0" cy="0"/>
        </a:xfrm>
      </p:grpSpPr>
      <p:sp>
        <p:nvSpPr>
          <p:cNvPr id="18" name="Picture Placeholder 4"/>
          <p:cNvSpPr>
            <a:spLocks noGrp="1"/>
          </p:cNvSpPr>
          <p:nvPr>
            <p:ph type="pic" sz="quarter" idx="21"/>
          </p:nvPr>
        </p:nvSpPr>
        <p:spPr>
          <a:xfrm>
            <a:off x="0" y="1068386"/>
            <a:ext cx="9144000" cy="2330452"/>
          </a:xfrm>
          <a:prstGeom prst="rect">
            <a:avLst/>
          </a:prstGeom>
          <a:solidFill>
            <a:schemeClr val="bg1">
              <a:lumMod val="50000"/>
            </a:schemeClr>
          </a:solidFill>
        </p:spPr>
        <p:txBody>
          <a:bodyPr tIns="1828800"/>
          <a:lstStyle>
            <a:lvl1pPr marL="0" indent="0" algn="ctr">
              <a:buNone/>
              <a:defRPr sz="900" b="1" baseline="0">
                <a:gradFill>
                  <a:gsLst>
                    <a:gs pos="2419">
                      <a:schemeClr val="bg1"/>
                    </a:gs>
                    <a:gs pos="8000">
                      <a:schemeClr val="bg1"/>
                    </a:gs>
                  </a:gsLst>
                  <a:lin ang="5400000" scaled="0"/>
                </a:gradFill>
                <a:latin typeface="Arial" panose="020B0604020202020204" pitchFamily="34" charset="0"/>
                <a:cs typeface="Arial" panose="020B0604020202020204" pitchFamily="34" charset="0"/>
              </a:defRPr>
            </a:lvl1pPr>
          </a:lstStyle>
          <a:p>
            <a:pPr marL="0" lvl="0" indent="0" algn="ctr">
              <a:buNone/>
            </a:pPr>
            <a:r>
              <a:rPr lang="en-US"/>
              <a:t>Click icon to add picture</a:t>
            </a:r>
          </a:p>
        </p:txBody>
      </p:sp>
      <p:sp>
        <p:nvSpPr>
          <p:cNvPr id="16" name="Slide Number Placeholder 5"/>
          <p:cNvSpPr>
            <a:spLocks noGrp="1"/>
          </p:cNvSpPr>
          <p:nvPr>
            <p:ph type="sldNum" sz="quarter" idx="12"/>
          </p:nvPr>
        </p:nvSpPr>
        <p:spPr>
          <a:xfrm>
            <a:off x="8533335" y="4838589"/>
            <a:ext cx="323309" cy="201168"/>
          </a:xfrm>
          <a:prstGeom prst="rect">
            <a:avLst/>
          </a:prstGeom>
        </p:spPr>
        <p:txBody>
          <a:bodyPr lIns="0" tIns="0" rIns="0" bIns="0"/>
          <a:lstStyle>
            <a:lvl1pPr algn="r">
              <a:defRPr lang="en-US" sz="600" smtClean="0"/>
            </a:lvl1pPr>
          </a:lstStyle>
          <a:p>
            <a:fld id="{FCEE2C88-6C8F-484D-AF69-578F576B1F44}" type="slidenum">
              <a:rPr lang="en-US" smtClean="0"/>
              <a:pPr/>
              <a:t>‹#›</a:t>
            </a:fld>
            <a:endParaRPr lang="en-US"/>
          </a:p>
        </p:txBody>
      </p:sp>
      <p:sp>
        <p:nvSpPr>
          <p:cNvPr id="10" name="Text Placeholder 10"/>
          <p:cNvSpPr>
            <a:spLocks noGrp="1"/>
          </p:cNvSpPr>
          <p:nvPr>
            <p:ph type="body" sz="quarter" idx="14" hasCustomPrompt="1"/>
          </p:nvPr>
        </p:nvSpPr>
        <p:spPr>
          <a:xfrm>
            <a:off x="304801" y="325090"/>
            <a:ext cx="8534400" cy="337614"/>
          </a:xfrm>
        </p:spPr>
        <p:txBody>
          <a:bodyPr vert="horz" wrap="square" lIns="0" tIns="0" rIns="0" bIns="0" rtlCol="0">
            <a:noAutofit/>
          </a:bodyPr>
          <a:lstStyle>
            <a:lvl1pPr marL="285750" indent="-285750">
              <a:buFont typeface="Arial" panose="020B0604020202020204" pitchFamily="34" charset="0"/>
              <a:buNone/>
              <a:defRPr lang="en-US" sz="2400" b="0" kern="0" spc="-70" baseline="0" dirty="0">
                <a:gradFill>
                  <a:gsLst>
                    <a:gs pos="2419">
                      <a:schemeClr val="accent2"/>
                    </a:gs>
                    <a:gs pos="7000">
                      <a:schemeClr val="accent2"/>
                    </a:gs>
                  </a:gsLst>
                  <a:lin ang="5400000" scaled="1"/>
                </a:gradFill>
                <a:latin typeface="Arial" panose="020B0604020202020204" pitchFamily="34" charset="0"/>
                <a:ea typeface="Roboto Medium" panose="02000000000000000000" pitchFamily="2" charset="0"/>
                <a:cs typeface="Arial" panose="020B0604020202020204" pitchFamily="34" charset="0"/>
              </a:defRPr>
            </a:lvl1pPr>
          </a:lstStyle>
          <a:p>
            <a:pPr marL="0" lvl="0" indent="0" algn="l" defTabSz="914400" rtl="0" eaLnBrk="1" latinLnBrk="0" hangingPunct="1">
              <a:lnSpc>
                <a:spcPct val="90000"/>
              </a:lnSpc>
              <a:spcBef>
                <a:spcPts val="1200"/>
              </a:spcBef>
              <a:buClr>
                <a:srgbClr val="0072C8"/>
              </a:buClr>
              <a:buSzPct val="110000"/>
              <a:buFont typeface="Arial" panose="020B0604020202020204" pitchFamily="34" charset="0"/>
              <a:buNone/>
            </a:pPr>
            <a:r>
              <a:rPr lang="en-US" dirty="0"/>
              <a:t>Insert slide title here</a:t>
            </a:r>
          </a:p>
        </p:txBody>
      </p:sp>
      <p:sp>
        <p:nvSpPr>
          <p:cNvPr id="11" name="Text Placeholder 4"/>
          <p:cNvSpPr>
            <a:spLocks noGrp="1"/>
          </p:cNvSpPr>
          <p:nvPr>
            <p:ph type="body" sz="quarter" idx="16"/>
          </p:nvPr>
        </p:nvSpPr>
        <p:spPr>
          <a:xfrm>
            <a:off x="312788" y="771212"/>
            <a:ext cx="8524151" cy="170816"/>
          </a:xfrm>
        </p:spPr>
        <p:txBody>
          <a:bodyPr tIns="0"/>
          <a:lstStyle>
            <a:lvl1pPr marL="0" indent="0">
              <a:buNone/>
              <a:defRPr lang="en-US" sz="1100" kern="1200" spc="40" baseline="0" dirty="0" smtClean="0">
                <a:gradFill>
                  <a:gsLst>
                    <a:gs pos="2419">
                      <a:schemeClr val="bg1">
                        <a:lumMod val="50000"/>
                      </a:schemeClr>
                    </a:gs>
                    <a:gs pos="8000">
                      <a:schemeClr val="bg1">
                        <a:lumMod val="50000"/>
                      </a:schemeClr>
                    </a:gs>
                  </a:gsLst>
                  <a:lin ang="5400000" scaled="0"/>
                </a:gra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dirty="0"/>
              <a:t>Click to edit Master text styles</a:t>
            </a:r>
          </a:p>
        </p:txBody>
      </p:sp>
      <p:sp>
        <p:nvSpPr>
          <p:cNvPr id="6" name="TextBox 5"/>
          <p:cNvSpPr txBox="1"/>
          <p:nvPr userDrawn="1"/>
        </p:nvSpPr>
        <p:spPr>
          <a:xfrm>
            <a:off x="304800" y="4800737"/>
            <a:ext cx="592470" cy="138499"/>
          </a:xfrm>
          <a:prstGeom prst="rect">
            <a:avLst/>
          </a:prstGeom>
          <a:noFill/>
        </p:spPr>
        <p:txBody>
          <a:bodyPr wrap="none" lIns="0" bIns="0" rtlCol="0" anchor="b" anchorCtr="0">
            <a:spAutoFit/>
          </a:bodyPr>
          <a:lstStyle/>
          <a:p>
            <a:pPr defTabSz="685755"/>
            <a:r>
              <a:rPr lang="en-AU" sz="600" spc="75">
                <a:gradFill>
                  <a:gsLst>
                    <a:gs pos="7258">
                      <a:schemeClr val="accent2"/>
                    </a:gs>
                    <a:gs pos="19000">
                      <a:schemeClr val="accent2"/>
                    </a:gs>
                  </a:gsLst>
                  <a:lin ang="5400000" scaled="1"/>
                </a:gradFill>
                <a:latin typeface="Arial" panose="020B0604020202020204" pitchFamily="34" charset="0"/>
                <a:ea typeface="Roboto Light" panose="02000000000000000000" pitchFamily="2" charset="0"/>
                <a:cs typeface="Arial" panose="020B0604020202020204" pitchFamily="34" charset="0"/>
              </a:rPr>
              <a:t>slalom.com</a:t>
            </a:r>
          </a:p>
        </p:txBody>
      </p:sp>
    </p:spTree>
    <p:extLst>
      <p:ext uri="{BB962C8B-B14F-4D97-AF65-F5344CB8AC3E}">
        <p14:creationId xmlns:p14="http://schemas.microsoft.com/office/powerpoint/2010/main" val="31456528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ork Example 2">
    <p:bg>
      <p:bgPr>
        <a:solidFill>
          <a:srgbClr val="FFFFFF"/>
        </a:solidFill>
        <a:effectLst/>
      </p:bgPr>
    </p:bg>
    <p:spTree>
      <p:nvGrpSpPr>
        <p:cNvPr id="1" name=""/>
        <p:cNvGrpSpPr/>
        <p:nvPr/>
      </p:nvGrpSpPr>
      <p:grpSpPr>
        <a:xfrm>
          <a:off x="0" y="0"/>
          <a:ext cx="0" cy="0"/>
          <a:chOff x="0" y="0"/>
          <a:chExt cx="0" cy="0"/>
        </a:xfrm>
      </p:grpSpPr>
      <p:sp>
        <p:nvSpPr>
          <p:cNvPr id="8" name="Picture Placeholder 4"/>
          <p:cNvSpPr>
            <a:spLocks noGrp="1"/>
          </p:cNvSpPr>
          <p:nvPr>
            <p:ph type="pic" sz="quarter" idx="21"/>
          </p:nvPr>
        </p:nvSpPr>
        <p:spPr>
          <a:xfrm>
            <a:off x="0" y="1068386"/>
            <a:ext cx="4583875" cy="2813414"/>
          </a:xfrm>
          <a:prstGeom prst="rect">
            <a:avLst/>
          </a:prstGeom>
          <a:solidFill>
            <a:schemeClr val="bg1">
              <a:lumMod val="50000"/>
            </a:schemeClr>
          </a:solidFill>
        </p:spPr>
        <p:txBody>
          <a:bodyPr tIns="1828800"/>
          <a:lstStyle>
            <a:lvl1pPr marL="0" indent="0" algn="ctr">
              <a:buNone/>
              <a:defRPr sz="900" b="1" baseline="0">
                <a:gradFill>
                  <a:gsLst>
                    <a:gs pos="2419">
                      <a:schemeClr val="bg1"/>
                    </a:gs>
                    <a:gs pos="8000">
                      <a:schemeClr val="bg1"/>
                    </a:gs>
                  </a:gsLst>
                  <a:lin ang="5400000" scaled="0"/>
                </a:gradFill>
                <a:latin typeface="Arial" panose="020B0604020202020204" pitchFamily="34" charset="0"/>
                <a:cs typeface="Arial" panose="020B0604020202020204" pitchFamily="34" charset="0"/>
              </a:defRPr>
            </a:lvl1pPr>
          </a:lstStyle>
          <a:p>
            <a:pPr marL="0" lvl="0" indent="0" algn="ctr">
              <a:buNone/>
            </a:pPr>
            <a:r>
              <a:rPr lang="en-US"/>
              <a:t>Click icon to add picture</a:t>
            </a:r>
          </a:p>
        </p:txBody>
      </p:sp>
      <p:sp>
        <p:nvSpPr>
          <p:cNvPr id="16" name="Slide Number Placeholder 5"/>
          <p:cNvSpPr>
            <a:spLocks noGrp="1"/>
          </p:cNvSpPr>
          <p:nvPr>
            <p:ph type="sldNum" sz="quarter" idx="12"/>
          </p:nvPr>
        </p:nvSpPr>
        <p:spPr>
          <a:xfrm>
            <a:off x="8533335" y="4838589"/>
            <a:ext cx="323309" cy="201168"/>
          </a:xfrm>
          <a:prstGeom prst="rect">
            <a:avLst/>
          </a:prstGeom>
        </p:spPr>
        <p:txBody>
          <a:bodyPr lIns="0" tIns="0" rIns="0" bIns="0"/>
          <a:lstStyle>
            <a:lvl1pPr algn="r">
              <a:defRPr lang="en-US" sz="600" smtClean="0"/>
            </a:lvl1pPr>
          </a:lstStyle>
          <a:p>
            <a:fld id="{FCEE2C88-6C8F-484D-AF69-578F576B1F44}" type="slidenum">
              <a:rPr lang="en-US" smtClean="0"/>
              <a:pPr/>
              <a:t>‹#›</a:t>
            </a:fld>
            <a:endParaRPr lang="en-US"/>
          </a:p>
        </p:txBody>
      </p:sp>
      <p:sp>
        <p:nvSpPr>
          <p:cNvPr id="11" name="Text Placeholder 10"/>
          <p:cNvSpPr>
            <a:spLocks noGrp="1"/>
          </p:cNvSpPr>
          <p:nvPr>
            <p:ph type="body" sz="quarter" idx="14" hasCustomPrompt="1"/>
          </p:nvPr>
        </p:nvSpPr>
        <p:spPr>
          <a:xfrm>
            <a:off x="304801" y="325090"/>
            <a:ext cx="8534400" cy="337614"/>
          </a:xfrm>
        </p:spPr>
        <p:txBody>
          <a:bodyPr vert="horz" wrap="square" lIns="0" tIns="0" rIns="0" bIns="0" rtlCol="0">
            <a:noAutofit/>
          </a:bodyPr>
          <a:lstStyle>
            <a:lvl1pPr marL="285750" indent="-285750">
              <a:buFont typeface="Arial" panose="020B0604020202020204" pitchFamily="34" charset="0"/>
              <a:buNone/>
              <a:defRPr lang="en-US" sz="2400" b="0" kern="0" spc="-70" baseline="0" dirty="0">
                <a:gradFill>
                  <a:gsLst>
                    <a:gs pos="2419">
                      <a:schemeClr val="accent2"/>
                    </a:gs>
                    <a:gs pos="7000">
                      <a:schemeClr val="accent2"/>
                    </a:gs>
                  </a:gsLst>
                  <a:lin ang="5400000" scaled="1"/>
                </a:gradFill>
                <a:latin typeface="Arial" panose="020B0604020202020204" pitchFamily="34" charset="0"/>
                <a:ea typeface="Roboto Medium" panose="02000000000000000000" pitchFamily="2" charset="0"/>
                <a:cs typeface="Arial" panose="020B0604020202020204" pitchFamily="34" charset="0"/>
              </a:defRPr>
            </a:lvl1pPr>
          </a:lstStyle>
          <a:p>
            <a:pPr marL="0" lvl="0" indent="0" algn="l" defTabSz="914400" rtl="0" eaLnBrk="1" latinLnBrk="0" hangingPunct="1">
              <a:lnSpc>
                <a:spcPct val="90000"/>
              </a:lnSpc>
              <a:spcBef>
                <a:spcPts val="1200"/>
              </a:spcBef>
              <a:buClr>
                <a:srgbClr val="0072C8"/>
              </a:buClr>
              <a:buSzPct val="110000"/>
              <a:buFont typeface="Arial" panose="020B0604020202020204" pitchFamily="34" charset="0"/>
              <a:buNone/>
            </a:pPr>
            <a:r>
              <a:rPr lang="en-US" dirty="0"/>
              <a:t>Insert slide title here</a:t>
            </a:r>
          </a:p>
        </p:txBody>
      </p:sp>
      <p:sp>
        <p:nvSpPr>
          <p:cNvPr id="12" name="Text Placeholder 4"/>
          <p:cNvSpPr>
            <a:spLocks noGrp="1"/>
          </p:cNvSpPr>
          <p:nvPr>
            <p:ph type="body" sz="quarter" idx="16"/>
          </p:nvPr>
        </p:nvSpPr>
        <p:spPr>
          <a:xfrm>
            <a:off x="312788" y="771212"/>
            <a:ext cx="8524151" cy="170816"/>
          </a:xfrm>
        </p:spPr>
        <p:txBody>
          <a:bodyPr tIns="0"/>
          <a:lstStyle>
            <a:lvl1pPr marL="0" indent="0">
              <a:buNone/>
              <a:defRPr lang="en-US" sz="1100" kern="1200" spc="40" baseline="0" dirty="0" smtClean="0">
                <a:gradFill>
                  <a:gsLst>
                    <a:gs pos="2419">
                      <a:schemeClr val="bg1">
                        <a:lumMod val="50000"/>
                      </a:schemeClr>
                    </a:gs>
                    <a:gs pos="8000">
                      <a:schemeClr val="bg1">
                        <a:lumMod val="50000"/>
                      </a:schemeClr>
                    </a:gs>
                  </a:gsLst>
                  <a:lin ang="5400000" scaled="0"/>
                </a:gra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dirty="0"/>
              <a:t>Click to edit Master text styles</a:t>
            </a:r>
          </a:p>
        </p:txBody>
      </p:sp>
      <p:sp>
        <p:nvSpPr>
          <p:cNvPr id="6" name="TextBox 5"/>
          <p:cNvSpPr txBox="1"/>
          <p:nvPr userDrawn="1"/>
        </p:nvSpPr>
        <p:spPr>
          <a:xfrm>
            <a:off x="304800" y="4800737"/>
            <a:ext cx="592470" cy="138499"/>
          </a:xfrm>
          <a:prstGeom prst="rect">
            <a:avLst/>
          </a:prstGeom>
          <a:noFill/>
        </p:spPr>
        <p:txBody>
          <a:bodyPr wrap="none" lIns="0" bIns="0" rtlCol="0" anchor="b" anchorCtr="0">
            <a:spAutoFit/>
          </a:bodyPr>
          <a:lstStyle/>
          <a:p>
            <a:pPr defTabSz="685755"/>
            <a:r>
              <a:rPr lang="en-AU" sz="600" spc="75">
                <a:gradFill>
                  <a:gsLst>
                    <a:gs pos="7258">
                      <a:schemeClr val="accent2"/>
                    </a:gs>
                    <a:gs pos="19000">
                      <a:schemeClr val="accent2"/>
                    </a:gs>
                  </a:gsLst>
                  <a:lin ang="5400000" scaled="1"/>
                </a:gradFill>
                <a:latin typeface="Arial" panose="020B0604020202020204" pitchFamily="34" charset="0"/>
                <a:ea typeface="Roboto Light" panose="02000000000000000000" pitchFamily="2" charset="0"/>
                <a:cs typeface="Arial" panose="020B0604020202020204" pitchFamily="34" charset="0"/>
              </a:rPr>
              <a:t>slalom.com</a:t>
            </a:r>
          </a:p>
        </p:txBody>
      </p:sp>
    </p:spTree>
    <p:extLst>
      <p:ext uri="{BB962C8B-B14F-4D97-AF65-F5344CB8AC3E}">
        <p14:creationId xmlns:p14="http://schemas.microsoft.com/office/powerpoint/2010/main" val="17554441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ork Example 4">
    <p:bg>
      <p:bgPr>
        <a:solidFill>
          <a:srgbClr val="FFFFFF"/>
        </a:solidFill>
        <a:effectLst/>
      </p:bgPr>
    </p:bg>
    <p:spTree>
      <p:nvGrpSpPr>
        <p:cNvPr id="1" name=""/>
        <p:cNvGrpSpPr/>
        <p:nvPr/>
      </p:nvGrpSpPr>
      <p:grpSpPr>
        <a:xfrm>
          <a:off x="0" y="0"/>
          <a:ext cx="0" cy="0"/>
          <a:chOff x="0" y="0"/>
          <a:chExt cx="0" cy="0"/>
        </a:xfrm>
      </p:grpSpPr>
      <p:sp>
        <p:nvSpPr>
          <p:cNvPr id="8" name="Picture Placeholder 4"/>
          <p:cNvSpPr>
            <a:spLocks noGrp="1"/>
          </p:cNvSpPr>
          <p:nvPr>
            <p:ph type="pic" sz="quarter" idx="21"/>
          </p:nvPr>
        </p:nvSpPr>
        <p:spPr>
          <a:xfrm>
            <a:off x="4572000" y="0"/>
            <a:ext cx="4572000" cy="5143500"/>
          </a:xfrm>
          <a:prstGeom prst="rect">
            <a:avLst/>
          </a:prstGeom>
          <a:solidFill>
            <a:schemeClr val="bg1">
              <a:lumMod val="50000"/>
            </a:schemeClr>
          </a:solidFill>
        </p:spPr>
        <p:txBody>
          <a:bodyPr tIns="2926080"/>
          <a:lstStyle>
            <a:lvl1pPr marL="0" indent="0" algn="ctr">
              <a:buNone/>
              <a:defRPr sz="900" b="1" baseline="0">
                <a:gradFill>
                  <a:gsLst>
                    <a:gs pos="2419">
                      <a:schemeClr val="bg1"/>
                    </a:gs>
                    <a:gs pos="8000">
                      <a:schemeClr val="bg1"/>
                    </a:gs>
                  </a:gsLst>
                  <a:lin ang="5400000" scaled="0"/>
                </a:gradFill>
                <a:latin typeface="Arial" panose="020B0604020202020204" pitchFamily="34" charset="0"/>
                <a:cs typeface="Arial" panose="020B0604020202020204" pitchFamily="34" charset="0"/>
              </a:defRPr>
            </a:lvl1pPr>
          </a:lstStyle>
          <a:p>
            <a:pPr marL="0" lvl="0" indent="0" algn="ctr">
              <a:buNone/>
            </a:pPr>
            <a:r>
              <a:rPr lang="en-US"/>
              <a:t>Click icon to add picture</a:t>
            </a:r>
          </a:p>
        </p:txBody>
      </p:sp>
      <p:sp>
        <p:nvSpPr>
          <p:cNvPr id="7" name="Slide Number Placeholder 5"/>
          <p:cNvSpPr>
            <a:spLocks noGrp="1"/>
          </p:cNvSpPr>
          <p:nvPr>
            <p:ph type="sldNum" sz="quarter" idx="12"/>
          </p:nvPr>
        </p:nvSpPr>
        <p:spPr>
          <a:xfrm>
            <a:off x="8533335" y="4838589"/>
            <a:ext cx="323309" cy="201168"/>
          </a:xfrm>
          <a:prstGeom prst="rect">
            <a:avLst/>
          </a:prstGeom>
        </p:spPr>
        <p:txBody>
          <a:bodyPr lIns="0" tIns="0" rIns="0" bIns="0"/>
          <a:lstStyle>
            <a:lvl1pPr algn="r">
              <a:defRPr sz="600">
                <a:gradFill>
                  <a:gsLst>
                    <a:gs pos="7258">
                      <a:schemeClr val="bg1"/>
                    </a:gs>
                    <a:gs pos="19000">
                      <a:schemeClr val="bg1"/>
                    </a:gs>
                  </a:gsLst>
                  <a:lin ang="5400000" scaled="1"/>
                </a:gradFill>
                <a:latin typeface="Arial" panose="020B0604020202020204" pitchFamily="34" charset="0"/>
                <a:ea typeface="Roboto Light" panose="02000000000000000000" pitchFamily="2" charset="0"/>
                <a:cs typeface="Arial" panose="020B0604020202020204" pitchFamily="34" charset="0"/>
              </a:defRPr>
            </a:lvl1pPr>
          </a:lstStyle>
          <a:p>
            <a:fld id="{FCEE2C88-6C8F-484D-AF69-578F576B1F44}" type="slidenum">
              <a:rPr lang="en-US" smtClean="0"/>
              <a:pPr/>
              <a:t>‹#›</a:t>
            </a:fld>
            <a:endParaRPr lang="en-US"/>
          </a:p>
        </p:txBody>
      </p:sp>
      <p:sp>
        <p:nvSpPr>
          <p:cNvPr id="12" name="Text Placeholder 10"/>
          <p:cNvSpPr>
            <a:spLocks noGrp="1"/>
          </p:cNvSpPr>
          <p:nvPr>
            <p:ph type="body" sz="quarter" idx="14" hasCustomPrompt="1"/>
          </p:nvPr>
        </p:nvSpPr>
        <p:spPr>
          <a:xfrm>
            <a:off x="304801" y="325090"/>
            <a:ext cx="4061926" cy="337614"/>
          </a:xfrm>
        </p:spPr>
        <p:txBody>
          <a:bodyPr vert="horz" wrap="square" lIns="0" tIns="0" rIns="0" bIns="0" rtlCol="0">
            <a:noAutofit/>
          </a:bodyPr>
          <a:lstStyle>
            <a:lvl1pPr marL="285750" indent="-285750">
              <a:buFont typeface="Arial" panose="020B0604020202020204" pitchFamily="34" charset="0"/>
              <a:buNone/>
              <a:defRPr lang="en-US" sz="2400" b="0" kern="0" spc="-70" baseline="0" dirty="0">
                <a:gradFill>
                  <a:gsLst>
                    <a:gs pos="2419">
                      <a:schemeClr val="accent2"/>
                    </a:gs>
                    <a:gs pos="7000">
                      <a:schemeClr val="accent2"/>
                    </a:gs>
                  </a:gsLst>
                  <a:lin ang="5400000" scaled="1"/>
                </a:gradFill>
                <a:latin typeface="Arial" panose="020B0604020202020204" pitchFamily="34" charset="0"/>
                <a:ea typeface="Roboto Medium" panose="02000000000000000000" pitchFamily="2" charset="0"/>
                <a:cs typeface="Arial" panose="020B0604020202020204" pitchFamily="34" charset="0"/>
              </a:defRPr>
            </a:lvl1pPr>
          </a:lstStyle>
          <a:p>
            <a:pPr marL="0" lvl="0" indent="0" algn="l" defTabSz="914400" rtl="0" eaLnBrk="1" latinLnBrk="0" hangingPunct="1">
              <a:lnSpc>
                <a:spcPct val="90000"/>
              </a:lnSpc>
              <a:spcBef>
                <a:spcPts val="1200"/>
              </a:spcBef>
              <a:buClr>
                <a:srgbClr val="0072C8"/>
              </a:buClr>
              <a:buSzPct val="110000"/>
              <a:buFont typeface="Arial" panose="020B0604020202020204" pitchFamily="34" charset="0"/>
              <a:buNone/>
            </a:pPr>
            <a:r>
              <a:rPr lang="en-US" dirty="0"/>
              <a:t>Insert slide title here</a:t>
            </a:r>
          </a:p>
        </p:txBody>
      </p:sp>
      <p:sp>
        <p:nvSpPr>
          <p:cNvPr id="13" name="Text Placeholder 4"/>
          <p:cNvSpPr>
            <a:spLocks noGrp="1"/>
          </p:cNvSpPr>
          <p:nvPr>
            <p:ph type="body" sz="quarter" idx="16"/>
          </p:nvPr>
        </p:nvSpPr>
        <p:spPr>
          <a:xfrm>
            <a:off x="312789" y="771212"/>
            <a:ext cx="4057048" cy="170816"/>
          </a:xfrm>
        </p:spPr>
        <p:txBody>
          <a:bodyPr tIns="0"/>
          <a:lstStyle>
            <a:lvl1pPr marL="0" indent="0">
              <a:buNone/>
              <a:defRPr lang="en-US" sz="1100" kern="1200" spc="40" baseline="0" dirty="0" smtClean="0">
                <a:gradFill>
                  <a:gsLst>
                    <a:gs pos="2419">
                      <a:schemeClr val="bg1">
                        <a:lumMod val="50000"/>
                      </a:schemeClr>
                    </a:gs>
                    <a:gs pos="8000">
                      <a:schemeClr val="bg1">
                        <a:lumMod val="50000"/>
                      </a:schemeClr>
                    </a:gs>
                  </a:gsLst>
                  <a:lin ang="5400000" scaled="0"/>
                </a:gra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dirty="0"/>
              <a:t>Click to edit Master text styles</a:t>
            </a:r>
          </a:p>
        </p:txBody>
      </p:sp>
      <p:sp>
        <p:nvSpPr>
          <p:cNvPr id="6" name="TextBox 5"/>
          <p:cNvSpPr txBox="1"/>
          <p:nvPr userDrawn="1"/>
        </p:nvSpPr>
        <p:spPr>
          <a:xfrm>
            <a:off x="304800" y="4800737"/>
            <a:ext cx="592470" cy="138499"/>
          </a:xfrm>
          <a:prstGeom prst="rect">
            <a:avLst/>
          </a:prstGeom>
          <a:noFill/>
        </p:spPr>
        <p:txBody>
          <a:bodyPr wrap="none" lIns="0" bIns="0" rtlCol="0" anchor="b" anchorCtr="0">
            <a:spAutoFit/>
          </a:bodyPr>
          <a:lstStyle/>
          <a:p>
            <a:pPr defTabSz="685755"/>
            <a:r>
              <a:rPr lang="en-AU" sz="600" spc="75">
                <a:gradFill>
                  <a:gsLst>
                    <a:gs pos="7258">
                      <a:schemeClr val="accent2"/>
                    </a:gs>
                    <a:gs pos="19000">
                      <a:schemeClr val="accent2"/>
                    </a:gs>
                  </a:gsLst>
                  <a:lin ang="5400000" scaled="1"/>
                </a:gradFill>
                <a:latin typeface="Arial" panose="020B0604020202020204" pitchFamily="34" charset="0"/>
                <a:ea typeface="Roboto Light" panose="02000000000000000000" pitchFamily="2" charset="0"/>
                <a:cs typeface="Arial" panose="020B0604020202020204" pitchFamily="34" charset="0"/>
              </a:rPr>
              <a:t>slalom.com</a:t>
            </a:r>
          </a:p>
        </p:txBody>
      </p:sp>
    </p:spTree>
    <p:extLst>
      <p:ext uri="{BB962C8B-B14F-4D97-AF65-F5344CB8AC3E}">
        <p14:creationId xmlns:p14="http://schemas.microsoft.com/office/powerpoint/2010/main" val="12834540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Portfolio">
    <p:bg>
      <p:bgPr>
        <a:solidFill>
          <a:srgbClr val="FFFFFF"/>
        </a:solidFill>
        <a:effectLst/>
      </p:bgPr>
    </p:bg>
    <p:spTree>
      <p:nvGrpSpPr>
        <p:cNvPr id="1" name=""/>
        <p:cNvGrpSpPr/>
        <p:nvPr/>
      </p:nvGrpSpPr>
      <p:grpSpPr>
        <a:xfrm>
          <a:off x="0" y="0"/>
          <a:ext cx="0" cy="0"/>
          <a:chOff x="0" y="0"/>
          <a:chExt cx="0" cy="0"/>
        </a:xfrm>
      </p:grpSpPr>
      <p:sp>
        <p:nvSpPr>
          <p:cNvPr id="10" name="Slide Number Placeholder 5"/>
          <p:cNvSpPr>
            <a:spLocks noGrp="1"/>
          </p:cNvSpPr>
          <p:nvPr>
            <p:ph type="sldNum" sz="quarter" idx="12"/>
          </p:nvPr>
        </p:nvSpPr>
        <p:spPr>
          <a:xfrm>
            <a:off x="8533335" y="4845467"/>
            <a:ext cx="323309" cy="199474"/>
          </a:xfrm>
          <a:prstGeom prst="rect">
            <a:avLst/>
          </a:prstGeom>
        </p:spPr>
        <p:txBody>
          <a:bodyPr lIns="0" tIns="0" rIns="0" bIns="0"/>
          <a:lstStyle>
            <a:lvl1pPr algn="r">
              <a:defRPr sz="600">
                <a:gradFill>
                  <a:gsLst>
                    <a:gs pos="7258">
                      <a:schemeClr val="accent2"/>
                    </a:gs>
                    <a:gs pos="19000">
                      <a:schemeClr val="accent2"/>
                    </a:gs>
                  </a:gsLst>
                  <a:lin ang="5400000" scaled="1"/>
                </a:gradFill>
                <a:latin typeface="Arial" panose="020B0604020202020204" pitchFamily="34" charset="0"/>
                <a:ea typeface="Roboto Light" panose="02000000000000000000" pitchFamily="2" charset="0"/>
                <a:cs typeface="Arial" panose="020B0604020202020204" pitchFamily="34" charset="0"/>
              </a:defRPr>
            </a:lvl1pPr>
          </a:lstStyle>
          <a:p>
            <a:fld id="{FCEE2C88-6C8F-484D-AF69-578F576B1F44}" type="slidenum">
              <a:rPr lang="en-US" smtClean="0"/>
              <a:pPr/>
              <a:t>‹#›</a:t>
            </a:fld>
            <a:endParaRPr lang="en-US"/>
          </a:p>
        </p:txBody>
      </p:sp>
      <p:sp>
        <p:nvSpPr>
          <p:cNvPr id="3" name="Picture Placeholder 2"/>
          <p:cNvSpPr>
            <a:spLocks noGrp="1"/>
          </p:cNvSpPr>
          <p:nvPr>
            <p:ph type="pic" sz="quarter" idx="17" hasCustomPrompt="1"/>
          </p:nvPr>
        </p:nvSpPr>
        <p:spPr>
          <a:xfrm>
            <a:off x="841602" y="1256165"/>
            <a:ext cx="3657600" cy="2514600"/>
          </a:xfrm>
          <a:solidFill>
            <a:schemeClr val="bg1">
              <a:lumMod val="50000"/>
            </a:schemeClr>
          </a:solidFill>
        </p:spPr>
        <p:txBody>
          <a:bodyPr vert="horz" wrap="square" lIns="0" tIns="2286000" rIns="0" bIns="45720" rtlCol="0">
            <a:noAutofit/>
          </a:bodyPr>
          <a:lstStyle>
            <a:lvl1pPr>
              <a:defRPr lang="en-US" sz="900" b="1">
                <a:gradFill>
                  <a:gsLst>
                    <a:gs pos="2419">
                      <a:schemeClr val="bg1"/>
                    </a:gs>
                    <a:gs pos="8000">
                      <a:schemeClr val="bg1"/>
                    </a:gs>
                  </a:gsLst>
                  <a:lin ang="5400000" scaled="0"/>
                </a:gradFill>
              </a:defRPr>
            </a:lvl1pPr>
          </a:lstStyle>
          <a:p>
            <a:pPr marL="0" lvl="0" indent="0" algn="ctr">
              <a:buNone/>
            </a:pPr>
            <a:r>
              <a:rPr lang="en-US"/>
              <a:t>Click to add picture</a:t>
            </a:r>
          </a:p>
        </p:txBody>
      </p:sp>
      <p:sp>
        <p:nvSpPr>
          <p:cNvPr id="9" name="Picture Placeholder 2"/>
          <p:cNvSpPr>
            <a:spLocks noGrp="1"/>
          </p:cNvSpPr>
          <p:nvPr>
            <p:ph type="pic" sz="quarter" idx="18" hasCustomPrompt="1"/>
          </p:nvPr>
        </p:nvSpPr>
        <p:spPr>
          <a:xfrm>
            <a:off x="4687887" y="1256165"/>
            <a:ext cx="3657600" cy="2514600"/>
          </a:xfrm>
          <a:solidFill>
            <a:schemeClr val="bg1">
              <a:lumMod val="50000"/>
            </a:schemeClr>
          </a:solidFill>
        </p:spPr>
        <p:txBody>
          <a:bodyPr vert="horz" wrap="square" lIns="0" tIns="2286000" rIns="0" bIns="45720" rtlCol="0">
            <a:noAutofit/>
          </a:bodyPr>
          <a:lstStyle>
            <a:lvl1pPr>
              <a:defRPr lang="en-US" sz="900" b="1">
                <a:gradFill>
                  <a:gsLst>
                    <a:gs pos="2419">
                      <a:schemeClr val="bg1"/>
                    </a:gs>
                    <a:gs pos="8000">
                      <a:schemeClr val="bg1"/>
                    </a:gs>
                  </a:gsLst>
                  <a:lin ang="5400000" scaled="0"/>
                </a:gradFill>
              </a:defRPr>
            </a:lvl1pPr>
          </a:lstStyle>
          <a:p>
            <a:pPr marL="0" lvl="0" indent="0" algn="ctr">
              <a:buNone/>
            </a:pPr>
            <a:r>
              <a:rPr lang="en-US"/>
              <a:t>Click to add picture</a:t>
            </a:r>
          </a:p>
        </p:txBody>
      </p:sp>
      <p:sp>
        <p:nvSpPr>
          <p:cNvPr id="12" name="Text Placeholder 10"/>
          <p:cNvSpPr>
            <a:spLocks noGrp="1"/>
          </p:cNvSpPr>
          <p:nvPr>
            <p:ph type="body" sz="quarter" idx="14" hasCustomPrompt="1"/>
          </p:nvPr>
        </p:nvSpPr>
        <p:spPr>
          <a:xfrm>
            <a:off x="304801" y="325090"/>
            <a:ext cx="8534400" cy="337614"/>
          </a:xfrm>
        </p:spPr>
        <p:txBody>
          <a:bodyPr vert="horz" wrap="square" lIns="0" tIns="0" rIns="0" bIns="0" rtlCol="0">
            <a:noAutofit/>
          </a:bodyPr>
          <a:lstStyle>
            <a:lvl1pPr marL="285750" indent="-285750">
              <a:buFont typeface="Arial" panose="020B0604020202020204" pitchFamily="34" charset="0"/>
              <a:buNone/>
              <a:defRPr lang="en-US" sz="2400" b="0" kern="0" spc="-70" baseline="0" dirty="0">
                <a:gradFill>
                  <a:gsLst>
                    <a:gs pos="2419">
                      <a:schemeClr val="accent2"/>
                    </a:gs>
                    <a:gs pos="7000">
                      <a:schemeClr val="accent2"/>
                    </a:gs>
                  </a:gsLst>
                  <a:lin ang="5400000" scaled="1"/>
                </a:gradFill>
                <a:latin typeface="Arial" panose="020B0604020202020204" pitchFamily="34" charset="0"/>
                <a:ea typeface="Roboto Medium" panose="02000000000000000000" pitchFamily="2" charset="0"/>
                <a:cs typeface="Arial" panose="020B0604020202020204" pitchFamily="34" charset="0"/>
              </a:defRPr>
            </a:lvl1pPr>
          </a:lstStyle>
          <a:p>
            <a:pPr marL="0" lvl="0" indent="0" algn="l" defTabSz="914400" rtl="0" eaLnBrk="1" latinLnBrk="0" hangingPunct="1">
              <a:lnSpc>
                <a:spcPct val="90000"/>
              </a:lnSpc>
              <a:spcBef>
                <a:spcPts val="1200"/>
              </a:spcBef>
              <a:buClr>
                <a:srgbClr val="0072C8"/>
              </a:buClr>
              <a:buSzPct val="110000"/>
              <a:buFont typeface="Arial" panose="020B0604020202020204" pitchFamily="34" charset="0"/>
              <a:buNone/>
            </a:pPr>
            <a:r>
              <a:rPr lang="en-US" dirty="0"/>
              <a:t>Insert slide title here</a:t>
            </a:r>
          </a:p>
        </p:txBody>
      </p:sp>
      <p:sp>
        <p:nvSpPr>
          <p:cNvPr id="13" name="Text Placeholder 4"/>
          <p:cNvSpPr>
            <a:spLocks noGrp="1"/>
          </p:cNvSpPr>
          <p:nvPr>
            <p:ph type="body" sz="quarter" idx="16"/>
          </p:nvPr>
        </p:nvSpPr>
        <p:spPr>
          <a:xfrm>
            <a:off x="312788" y="771212"/>
            <a:ext cx="8524151" cy="170816"/>
          </a:xfrm>
        </p:spPr>
        <p:txBody>
          <a:bodyPr tIns="0"/>
          <a:lstStyle>
            <a:lvl1pPr marL="0" indent="0">
              <a:buNone/>
              <a:defRPr lang="en-US" sz="1100" kern="1200" spc="40" baseline="0" dirty="0" smtClean="0">
                <a:gradFill>
                  <a:gsLst>
                    <a:gs pos="2419">
                      <a:schemeClr val="bg1">
                        <a:lumMod val="50000"/>
                      </a:schemeClr>
                    </a:gs>
                    <a:gs pos="8000">
                      <a:schemeClr val="bg1">
                        <a:lumMod val="50000"/>
                      </a:schemeClr>
                    </a:gs>
                  </a:gsLst>
                  <a:lin ang="5400000" scaled="0"/>
                </a:gra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dirty="0"/>
              <a:t>Click to edit Master text styles</a:t>
            </a:r>
          </a:p>
        </p:txBody>
      </p:sp>
      <p:sp>
        <p:nvSpPr>
          <p:cNvPr id="7" name="TextBox 6"/>
          <p:cNvSpPr txBox="1"/>
          <p:nvPr userDrawn="1"/>
        </p:nvSpPr>
        <p:spPr>
          <a:xfrm>
            <a:off x="304800" y="4800737"/>
            <a:ext cx="592470" cy="138499"/>
          </a:xfrm>
          <a:prstGeom prst="rect">
            <a:avLst/>
          </a:prstGeom>
          <a:noFill/>
        </p:spPr>
        <p:txBody>
          <a:bodyPr wrap="none" lIns="0" bIns="0" rtlCol="0" anchor="b" anchorCtr="0">
            <a:spAutoFit/>
          </a:bodyPr>
          <a:lstStyle/>
          <a:p>
            <a:pPr defTabSz="685755"/>
            <a:r>
              <a:rPr lang="en-AU" sz="600" spc="75">
                <a:gradFill>
                  <a:gsLst>
                    <a:gs pos="7258">
                      <a:schemeClr val="accent2"/>
                    </a:gs>
                    <a:gs pos="19000">
                      <a:schemeClr val="accent2"/>
                    </a:gs>
                  </a:gsLst>
                  <a:lin ang="5400000" scaled="1"/>
                </a:gradFill>
                <a:latin typeface="Arial" panose="020B0604020202020204" pitchFamily="34" charset="0"/>
                <a:ea typeface="Roboto Light" panose="02000000000000000000" pitchFamily="2" charset="0"/>
                <a:cs typeface="Arial" panose="020B0604020202020204" pitchFamily="34" charset="0"/>
              </a:rPr>
              <a:t>slalom.com</a:t>
            </a:r>
          </a:p>
        </p:txBody>
      </p:sp>
    </p:spTree>
    <p:extLst>
      <p:ext uri="{BB962C8B-B14F-4D97-AF65-F5344CB8AC3E}">
        <p14:creationId xmlns:p14="http://schemas.microsoft.com/office/powerpoint/2010/main" val="31581508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am 1">
    <p:bg>
      <p:bgPr>
        <a:solidFill>
          <a:srgbClr val="FFFFFF"/>
        </a:solidFill>
        <a:effectLst/>
      </p:bgPr>
    </p:bg>
    <p:spTree>
      <p:nvGrpSpPr>
        <p:cNvPr id="1" name=""/>
        <p:cNvGrpSpPr/>
        <p:nvPr/>
      </p:nvGrpSpPr>
      <p:grpSpPr>
        <a:xfrm>
          <a:off x="0" y="0"/>
          <a:ext cx="0" cy="0"/>
          <a:chOff x="0" y="0"/>
          <a:chExt cx="0" cy="0"/>
        </a:xfrm>
      </p:grpSpPr>
      <p:sp>
        <p:nvSpPr>
          <p:cNvPr id="16" name="Slide Number Placeholder 5"/>
          <p:cNvSpPr>
            <a:spLocks noGrp="1"/>
          </p:cNvSpPr>
          <p:nvPr>
            <p:ph type="sldNum" sz="quarter" idx="12"/>
          </p:nvPr>
        </p:nvSpPr>
        <p:spPr>
          <a:xfrm>
            <a:off x="8533335" y="4838589"/>
            <a:ext cx="323309" cy="201168"/>
          </a:xfrm>
          <a:prstGeom prst="rect">
            <a:avLst/>
          </a:prstGeom>
        </p:spPr>
        <p:txBody>
          <a:bodyPr lIns="0" tIns="0" rIns="0" bIns="0"/>
          <a:lstStyle>
            <a:lvl1pPr algn="r">
              <a:defRPr lang="en-US" sz="600" smtClean="0"/>
            </a:lvl1pPr>
          </a:lstStyle>
          <a:p>
            <a:fld id="{FCEE2C88-6C8F-484D-AF69-578F576B1F44}" type="slidenum">
              <a:rPr lang="en-US" smtClean="0"/>
              <a:pPr/>
              <a:t>‹#›</a:t>
            </a:fld>
            <a:endParaRPr lang="en-US"/>
          </a:p>
        </p:txBody>
      </p:sp>
      <p:sp>
        <p:nvSpPr>
          <p:cNvPr id="8" name="Picture Placeholder 2"/>
          <p:cNvSpPr>
            <a:spLocks noGrp="1"/>
          </p:cNvSpPr>
          <p:nvPr>
            <p:ph type="pic" sz="quarter" idx="17"/>
          </p:nvPr>
        </p:nvSpPr>
        <p:spPr>
          <a:xfrm>
            <a:off x="1239160" y="1416208"/>
            <a:ext cx="1080000" cy="1080000"/>
          </a:xfrm>
          <a:prstGeom prst="ellipse">
            <a:avLst/>
          </a:prstGeom>
          <a:solidFill>
            <a:schemeClr val="bg1">
              <a:lumMod val="50000"/>
            </a:schemeClr>
          </a:solidFill>
        </p:spPr>
        <p:txBody>
          <a:bodyPr anchor="ctr">
            <a:normAutofit/>
          </a:bodyPr>
          <a:lstStyle>
            <a:lvl1pPr marL="0" indent="0" algn="ctr">
              <a:buNone/>
              <a:defRPr sz="1350">
                <a:gradFill>
                  <a:gsLst>
                    <a:gs pos="2419">
                      <a:schemeClr val="bg1"/>
                    </a:gs>
                    <a:gs pos="8000">
                      <a:schemeClr val="bg1"/>
                    </a:gs>
                  </a:gsLst>
                  <a:lin ang="5400000" scaled="0"/>
                </a:gradFill>
              </a:defRPr>
            </a:lvl1pPr>
          </a:lstStyle>
          <a:p>
            <a:r>
              <a:rPr lang="en-US"/>
              <a:t>Click icon to add picture</a:t>
            </a:r>
            <a:endParaRPr lang="id-ID"/>
          </a:p>
        </p:txBody>
      </p:sp>
      <p:sp>
        <p:nvSpPr>
          <p:cNvPr id="9" name="Picture Placeholder 2"/>
          <p:cNvSpPr>
            <a:spLocks noGrp="1"/>
          </p:cNvSpPr>
          <p:nvPr>
            <p:ph type="pic" sz="quarter" idx="18"/>
          </p:nvPr>
        </p:nvSpPr>
        <p:spPr>
          <a:xfrm>
            <a:off x="3065502" y="1416208"/>
            <a:ext cx="1080000" cy="1080000"/>
          </a:xfrm>
          <a:prstGeom prst="ellipse">
            <a:avLst/>
          </a:prstGeom>
          <a:solidFill>
            <a:schemeClr val="bg1">
              <a:lumMod val="50000"/>
            </a:schemeClr>
          </a:solidFill>
        </p:spPr>
        <p:txBody>
          <a:bodyPr anchor="ctr">
            <a:normAutofit/>
          </a:bodyPr>
          <a:lstStyle>
            <a:lvl1pPr marL="0" indent="0" algn="ctr">
              <a:buNone/>
              <a:defRPr sz="1350">
                <a:gradFill>
                  <a:gsLst>
                    <a:gs pos="2419">
                      <a:schemeClr val="bg1"/>
                    </a:gs>
                    <a:gs pos="8000">
                      <a:schemeClr val="bg1"/>
                    </a:gs>
                  </a:gsLst>
                  <a:lin ang="5400000" scaled="0"/>
                </a:gradFill>
              </a:defRPr>
            </a:lvl1pPr>
          </a:lstStyle>
          <a:p>
            <a:r>
              <a:rPr lang="en-US"/>
              <a:t>Click icon to add picture</a:t>
            </a:r>
            <a:endParaRPr lang="id-ID"/>
          </a:p>
        </p:txBody>
      </p:sp>
      <p:sp>
        <p:nvSpPr>
          <p:cNvPr id="11" name="Picture Placeholder 2"/>
          <p:cNvSpPr>
            <a:spLocks noGrp="1"/>
          </p:cNvSpPr>
          <p:nvPr>
            <p:ph type="pic" sz="quarter" idx="19"/>
          </p:nvPr>
        </p:nvSpPr>
        <p:spPr>
          <a:xfrm>
            <a:off x="4945921" y="1416208"/>
            <a:ext cx="1080000" cy="1080000"/>
          </a:xfrm>
          <a:prstGeom prst="ellipse">
            <a:avLst/>
          </a:prstGeom>
          <a:solidFill>
            <a:schemeClr val="bg1">
              <a:lumMod val="50000"/>
            </a:schemeClr>
          </a:solidFill>
        </p:spPr>
        <p:txBody>
          <a:bodyPr anchor="ctr">
            <a:normAutofit/>
          </a:bodyPr>
          <a:lstStyle>
            <a:lvl1pPr marL="0" indent="0" algn="ctr">
              <a:buNone/>
              <a:defRPr sz="1350">
                <a:gradFill>
                  <a:gsLst>
                    <a:gs pos="2419">
                      <a:schemeClr val="bg1"/>
                    </a:gs>
                    <a:gs pos="8000">
                      <a:schemeClr val="bg1"/>
                    </a:gs>
                  </a:gsLst>
                  <a:lin ang="5400000" scaled="0"/>
                </a:gradFill>
              </a:defRPr>
            </a:lvl1pPr>
          </a:lstStyle>
          <a:p>
            <a:r>
              <a:rPr lang="en-US"/>
              <a:t>Click icon to add picture</a:t>
            </a:r>
            <a:endParaRPr lang="id-ID"/>
          </a:p>
        </p:txBody>
      </p:sp>
      <p:sp>
        <p:nvSpPr>
          <p:cNvPr id="13" name="Picture Placeholder 2"/>
          <p:cNvSpPr>
            <a:spLocks noGrp="1"/>
          </p:cNvSpPr>
          <p:nvPr>
            <p:ph type="pic" sz="quarter" idx="20"/>
          </p:nvPr>
        </p:nvSpPr>
        <p:spPr>
          <a:xfrm>
            <a:off x="6789470" y="1416208"/>
            <a:ext cx="1080000" cy="1080000"/>
          </a:xfrm>
          <a:prstGeom prst="ellipse">
            <a:avLst/>
          </a:prstGeom>
          <a:solidFill>
            <a:schemeClr val="bg1">
              <a:lumMod val="50000"/>
            </a:schemeClr>
          </a:solidFill>
        </p:spPr>
        <p:txBody>
          <a:bodyPr anchor="ctr">
            <a:normAutofit/>
          </a:bodyPr>
          <a:lstStyle>
            <a:lvl1pPr marL="0" indent="0" algn="ctr">
              <a:buNone/>
              <a:defRPr sz="1350">
                <a:gradFill>
                  <a:gsLst>
                    <a:gs pos="2419">
                      <a:schemeClr val="bg1"/>
                    </a:gs>
                    <a:gs pos="8000">
                      <a:schemeClr val="bg1"/>
                    </a:gs>
                  </a:gsLst>
                  <a:lin ang="5400000" scaled="0"/>
                </a:gradFill>
              </a:defRPr>
            </a:lvl1pPr>
          </a:lstStyle>
          <a:p>
            <a:r>
              <a:rPr lang="en-US"/>
              <a:t>Click icon to add picture</a:t>
            </a:r>
            <a:endParaRPr lang="id-ID"/>
          </a:p>
        </p:txBody>
      </p:sp>
      <p:sp>
        <p:nvSpPr>
          <p:cNvPr id="14" name="Text Placeholder 10"/>
          <p:cNvSpPr>
            <a:spLocks noGrp="1"/>
          </p:cNvSpPr>
          <p:nvPr>
            <p:ph type="body" sz="quarter" idx="21" hasCustomPrompt="1"/>
          </p:nvPr>
        </p:nvSpPr>
        <p:spPr>
          <a:xfrm>
            <a:off x="991305" y="2712043"/>
            <a:ext cx="1575711" cy="215359"/>
          </a:xfrm>
          <a:prstGeom prst="rect">
            <a:avLst/>
          </a:prstGeom>
        </p:spPr>
        <p:txBody>
          <a:bodyPr lIns="0" tIns="0" rIns="0" bIns="0">
            <a:noAutofit/>
          </a:bodyPr>
          <a:lstStyle>
            <a:lvl1pPr marL="0" indent="0" algn="ctr">
              <a:buNone/>
              <a:defRPr sz="1100" b="1">
                <a:solidFill>
                  <a:schemeClr val="accent2"/>
                </a:soli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dirty="0"/>
              <a:t>Click to edit</a:t>
            </a:r>
          </a:p>
        </p:txBody>
      </p:sp>
      <p:sp>
        <p:nvSpPr>
          <p:cNvPr id="15" name="Text Placeholder 10"/>
          <p:cNvSpPr>
            <a:spLocks noGrp="1"/>
          </p:cNvSpPr>
          <p:nvPr>
            <p:ph type="body" sz="quarter" idx="22"/>
          </p:nvPr>
        </p:nvSpPr>
        <p:spPr>
          <a:xfrm>
            <a:off x="991303" y="2945323"/>
            <a:ext cx="1575714" cy="205131"/>
          </a:xfrm>
          <a:prstGeom prst="rect">
            <a:avLst/>
          </a:prstGeom>
        </p:spPr>
        <p:txBody>
          <a:bodyPr lIns="0" tIns="0" rIns="0" bIns="0">
            <a:noAutofit/>
          </a:bodyPr>
          <a:lstStyle>
            <a:lvl1pPr marL="0" indent="0" algn="ctr">
              <a:buNone/>
              <a:defRPr sz="900" i="0">
                <a:gradFill>
                  <a:gsLst>
                    <a:gs pos="28763">
                      <a:schemeClr val="tx1"/>
                    </a:gs>
                    <a:gs pos="15860">
                      <a:schemeClr val="tx1"/>
                    </a:gs>
                  </a:gsLst>
                  <a:lin ang="5400000" scaled="1"/>
                </a:gra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a:t>Click to edit Master text styles</a:t>
            </a:r>
          </a:p>
        </p:txBody>
      </p:sp>
      <p:sp>
        <p:nvSpPr>
          <p:cNvPr id="18" name="Text Placeholder 10"/>
          <p:cNvSpPr>
            <a:spLocks noGrp="1"/>
          </p:cNvSpPr>
          <p:nvPr>
            <p:ph type="body" sz="quarter" idx="23" hasCustomPrompt="1"/>
          </p:nvPr>
        </p:nvSpPr>
        <p:spPr>
          <a:xfrm>
            <a:off x="2817647" y="2712043"/>
            <a:ext cx="1575711" cy="215359"/>
          </a:xfrm>
          <a:prstGeom prst="rect">
            <a:avLst/>
          </a:prstGeom>
        </p:spPr>
        <p:txBody>
          <a:bodyPr lIns="0" tIns="0" rIns="0" bIns="0">
            <a:noAutofit/>
          </a:bodyPr>
          <a:lstStyle>
            <a:lvl1pPr marL="0" indent="0" algn="ctr">
              <a:buNone/>
              <a:defRPr sz="1100" b="1">
                <a:solidFill>
                  <a:schemeClr val="accent2"/>
                </a:soli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dirty="0"/>
              <a:t>Click to edit</a:t>
            </a:r>
          </a:p>
        </p:txBody>
      </p:sp>
      <p:sp>
        <p:nvSpPr>
          <p:cNvPr id="19" name="Text Placeholder 10"/>
          <p:cNvSpPr>
            <a:spLocks noGrp="1"/>
          </p:cNvSpPr>
          <p:nvPr>
            <p:ph type="body" sz="quarter" idx="24"/>
          </p:nvPr>
        </p:nvSpPr>
        <p:spPr>
          <a:xfrm>
            <a:off x="2817645" y="2945323"/>
            <a:ext cx="1575714" cy="205131"/>
          </a:xfrm>
          <a:prstGeom prst="rect">
            <a:avLst/>
          </a:prstGeom>
        </p:spPr>
        <p:txBody>
          <a:bodyPr lIns="0" tIns="0" rIns="0" bIns="0">
            <a:noAutofit/>
          </a:bodyPr>
          <a:lstStyle>
            <a:lvl1pPr marL="0" indent="0" algn="ctr">
              <a:buNone/>
              <a:defRPr sz="900" i="0">
                <a:gradFill>
                  <a:gsLst>
                    <a:gs pos="28763">
                      <a:schemeClr val="tx1"/>
                    </a:gs>
                    <a:gs pos="15860">
                      <a:schemeClr val="tx1"/>
                    </a:gs>
                  </a:gsLst>
                  <a:lin ang="5400000" scaled="1"/>
                </a:gra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a:t>Click to edit Master text styles</a:t>
            </a:r>
          </a:p>
        </p:txBody>
      </p:sp>
      <p:sp>
        <p:nvSpPr>
          <p:cNvPr id="20" name="Text Placeholder 10"/>
          <p:cNvSpPr>
            <a:spLocks noGrp="1"/>
          </p:cNvSpPr>
          <p:nvPr>
            <p:ph type="body" sz="quarter" idx="25" hasCustomPrompt="1"/>
          </p:nvPr>
        </p:nvSpPr>
        <p:spPr>
          <a:xfrm>
            <a:off x="4698066" y="2712043"/>
            <a:ext cx="1575711" cy="215359"/>
          </a:xfrm>
          <a:prstGeom prst="rect">
            <a:avLst/>
          </a:prstGeom>
        </p:spPr>
        <p:txBody>
          <a:bodyPr lIns="0" tIns="0" rIns="0" bIns="0">
            <a:noAutofit/>
          </a:bodyPr>
          <a:lstStyle>
            <a:lvl1pPr marL="0" indent="0" algn="ctr">
              <a:buNone/>
              <a:defRPr sz="1100" b="1">
                <a:solidFill>
                  <a:schemeClr val="accent2"/>
                </a:soli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dirty="0"/>
              <a:t>Click to edit</a:t>
            </a:r>
          </a:p>
        </p:txBody>
      </p:sp>
      <p:sp>
        <p:nvSpPr>
          <p:cNvPr id="21" name="Text Placeholder 10"/>
          <p:cNvSpPr>
            <a:spLocks noGrp="1"/>
          </p:cNvSpPr>
          <p:nvPr>
            <p:ph type="body" sz="quarter" idx="26"/>
          </p:nvPr>
        </p:nvSpPr>
        <p:spPr>
          <a:xfrm>
            <a:off x="4698064" y="2945323"/>
            <a:ext cx="1575714" cy="205131"/>
          </a:xfrm>
          <a:prstGeom prst="rect">
            <a:avLst/>
          </a:prstGeom>
        </p:spPr>
        <p:txBody>
          <a:bodyPr lIns="0" tIns="0" rIns="0" bIns="0">
            <a:noAutofit/>
          </a:bodyPr>
          <a:lstStyle>
            <a:lvl1pPr marL="0" indent="0" algn="ctr">
              <a:buNone/>
              <a:defRPr sz="900" i="0">
                <a:gradFill>
                  <a:gsLst>
                    <a:gs pos="28763">
                      <a:schemeClr val="tx1"/>
                    </a:gs>
                    <a:gs pos="15860">
                      <a:schemeClr val="tx1"/>
                    </a:gs>
                  </a:gsLst>
                  <a:lin ang="5400000" scaled="1"/>
                </a:gra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a:t>Click to edit Master text styles</a:t>
            </a:r>
          </a:p>
        </p:txBody>
      </p:sp>
      <p:sp>
        <p:nvSpPr>
          <p:cNvPr id="22" name="Text Placeholder 10"/>
          <p:cNvSpPr>
            <a:spLocks noGrp="1"/>
          </p:cNvSpPr>
          <p:nvPr>
            <p:ph type="body" sz="quarter" idx="27" hasCustomPrompt="1"/>
          </p:nvPr>
        </p:nvSpPr>
        <p:spPr>
          <a:xfrm>
            <a:off x="6541615" y="2712043"/>
            <a:ext cx="1575711" cy="215359"/>
          </a:xfrm>
          <a:prstGeom prst="rect">
            <a:avLst/>
          </a:prstGeom>
        </p:spPr>
        <p:txBody>
          <a:bodyPr lIns="0" tIns="0" rIns="0" bIns="0">
            <a:noAutofit/>
          </a:bodyPr>
          <a:lstStyle>
            <a:lvl1pPr marL="0" indent="0" algn="ctr">
              <a:buNone/>
              <a:defRPr sz="1100" b="1" baseline="0">
                <a:solidFill>
                  <a:schemeClr val="accent2"/>
                </a:soli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dirty="0"/>
              <a:t>Click to edit</a:t>
            </a:r>
          </a:p>
        </p:txBody>
      </p:sp>
      <p:sp>
        <p:nvSpPr>
          <p:cNvPr id="23" name="Text Placeholder 10"/>
          <p:cNvSpPr>
            <a:spLocks noGrp="1"/>
          </p:cNvSpPr>
          <p:nvPr>
            <p:ph type="body" sz="quarter" idx="28"/>
          </p:nvPr>
        </p:nvSpPr>
        <p:spPr>
          <a:xfrm>
            <a:off x="6541613" y="2945323"/>
            <a:ext cx="1575714" cy="205131"/>
          </a:xfrm>
          <a:prstGeom prst="rect">
            <a:avLst/>
          </a:prstGeom>
        </p:spPr>
        <p:txBody>
          <a:bodyPr lIns="0" tIns="0" rIns="0" bIns="0">
            <a:noAutofit/>
          </a:bodyPr>
          <a:lstStyle>
            <a:lvl1pPr marL="0" indent="0" algn="ctr">
              <a:buNone/>
              <a:defRPr sz="900" i="0">
                <a:gradFill>
                  <a:gsLst>
                    <a:gs pos="28763">
                      <a:schemeClr val="tx1"/>
                    </a:gs>
                    <a:gs pos="15860">
                      <a:schemeClr val="tx1"/>
                    </a:gs>
                  </a:gsLst>
                  <a:lin ang="5400000" scaled="1"/>
                </a:gra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a:t>Click to edit Master text styles</a:t>
            </a:r>
          </a:p>
        </p:txBody>
      </p:sp>
      <p:sp>
        <p:nvSpPr>
          <p:cNvPr id="27" name="Text Placeholder 10"/>
          <p:cNvSpPr>
            <a:spLocks noGrp="1"/>
          </p:cNvSpPr>
          <p:nvPr>
            <p:ph type="body" sz="quarter" idx="14" hasCustomPrompt="1"/>
          </p:nvPr>
        </p:nvSpPr>
        <p:spPr>
          <a:xfrm>
            <a:off x="304801" y="325090"/>
            <a:ext cx="8534400" cy="337614"/>
          </a:xfrm>
        </p:spPr>
        <p:txBody>
          <a:bodyPr vert="horz" wrap="square" lIns="0" tIns="0" rIns="0" bIns="0" rtlCol="0">
            <a:noAutofit/>
          </a:bodyPr>
          <a:lstStyle>
            <a:lvl1pPr marL="285750" indent="-285750">
              <a:buFont typeface="Arial" panose="020B0604020202020204" pitchFamily="34" charset="0"/>
              <a:buNone/>
              <a:defRPr lang="en-US" sz="2400" b="0" kern="0" spc="-70" baseline="0" dirty="0">
                <a:gradFill>
                  <a:gsLst>
                    <a:gs pos="2419">
                      <a:schemeClr val="accent2"/>
                    </a:gs>
                    <a:gs pos="7000">
                      <a:schemeClr val="accent2"/>
                    </a:gs>
                  </a:gsLst>
                  <a:lin ang="5400000" scaled="1"/>
                </a:gradFill>
                <a:latin typeface="Arial" panose="020B0604020202020204" pitchFamily="34" charset="0"/>
                <a:ea typeface="Roboto Medium" panose="02000000000000000000" pitchFamily="2" charset="0"/>
                <a:cs typeface="Arial" panose="020B0604020202020204" pitchFamily="34" charset="0"/>
              </a:defRPr>
            </a:lvl1pPr>
          </a:lstStyle>
          <a:p>
            <a:pPr marL="0" lvl="0" indent="0" algn="l" defTabSz="914400" rtl="0" eaLnBrk="1" latinLnBrk="0" hangingPunct="1">
              <a:lnSpc>
                <a:spcPct val="90000"/>
              </a:lnSpc>
              <a:spcBef>
                <a:spcPts val="1200"/>
              </a:spcBef>
              <a:buClr>
                <a:srgbClr val="0072C8"/>
              </a:buClr>
              <a:buSzPct val="110000"/>
              <a:buFont typeface="Arial" panose="020B0604020202020204" pitchFamily="34" charset="0"/>
              <a:buNone/>
            </a:pPr>
            <a:r>
              <a:rPr lang="en-US" dirty="0"/>
              <a:t>Insert slide title here</a:t>
            </a:r>
          </a:p>
        </p:txBody>
      </p:sp>
      <p:sp>
        <p:nvSpPr>
          <p:cNvPr id="28" name="Text Placeholder 4"/>
          <p:cNvSpPr>
            <a:spLocks noGrp="1"/>
          </p:cNvSpPr>
          <p:nvPr>
            <p:ph type="body" sz="quarter" idx="16"/>
          </p:nvPr>
        </p:nvSpPr>
        <p:spPr>
          <a:xfrm>
            <a:off x="312788" y="771212"/>
            <a:ext cx="8524151" cy="170816"/>
          </a:xfrm>
        </p:spPr>
        <p:txBody>
          <a:bodyPr tIns="0"/>
          <a:lstStyle>
            <a:lvl1pPr marL="0" indent="0">
              <a:buNone/>
              <a:defRPr lang="en-US" sz="1100" kern="1200" spc="40" baseline="0" dirty="0" smtClean="0">
                <a:gradFill>
                  <a:gsLst>
                    <a:gs pos="2419">
                      <a:schemeClr val="bg1">
                        <a:lumMod val="50000"/>
                      </a:schemeClr>
                    </a:gs>
                    <a:gs pos="8000">
                      <a:schemeClr val="bg1">
                        <a:lumMod val="50000"/>
                      </a:schemeClr>
                    </a:gs>
                  </a:gsLst>
                  <a:lin ang="5400000" scaled="0"/>
                </a:gra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dirty="0"/>
              <a:t>Click to edit Master text styles</a:t>
            </a:r>
          </a:p>
        </p:txBody>
      </p:sp>
      <p:sp>
        <p:nvSpPr>
          <p:cNvPr id="17" name="TextBox 16"/>
          <p:cNvSpPr txBox="1"/>
          <p:nvPr userDrawn="1"/>
        </p:nvSpPr>
        <p:spPr>
          <a:xfrm>
            <a:off x="304800" y="4800737"/>
            <a:ext cx="592470" cy="138499"/>
          </a:xfrm>
          <a:prstGeom prst="rect">
            <a:avLst/>
          </a:prstGeom>
          <a:noFill/>
        </p:spPr>
        <p:txBody>
          <a:bodyPr wrap="none" lIns="0" bIns="0" rtlCol="0" anchor="b" anchorCtr="0">
            <a:spAutoFit/>
          </a:bodyPr>
          <a:lstStyle/>
          <a:p>
            <a:pPr defTabSz="685755"/>
            <a:r>
              <a:rPr lang="en-AU" sz="600" spc="75">
                <a:gradFill>
                  <a:gsLst>
                    <a:gs pos="7258">
                      <a:schemeClr val="accent2"/>
                    </a:gs>
                    <a:gs pos="19000">
                      <a:schemeClr val="accent2"/>
                    </a:gs>
                  </a:gsLst>
                  <a:lin ang="5400000" scaled="1"/>
                </a:gradFill>
                <a:latin typeface="Arial" panose="020B0604020202020204" pitchFamily="34" charset="0"/>
                <a:ea typeface="Roboto Light" panose="02000000000000000000" pitchFamily="2" charset="0"/>
                <a:cs typeface="Arial" panose="020B0604020202020204" pitchFamily="34" charset="0"/>
              </a:rPr>
              <a:t>slalom.com</a:t>
            </a:r>
          </a:p>
        </p:txBody>
      </p:sp>
    </p:spTree>
    <p:extLst>
      <p:ext uri="{BB962C8B-B14F-4D97-AF65-F5344CB8AC3E}">
        <p14:creationId xmlns:p14="http://schemas.microsoft.com/office/powerpoint/2010/main" val="7948833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ain Title Slide">
    <p:bg>
      <p:bgPr>
        <a:solidFill>
          <a:schemeClr val="accent2"/>
        </a:solidFill>
        <a:effectLst/>
      </p:bgPr>
    </p:bg>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a:xfrm>
            <a:off x="304800" y="1688951"/>
            <a:ext cx="8455026" cy="1162498"/>
          </a:xfrm>
          <a:prstGeom prst="rect">
            <a:avLst/>
          </a:prstGeom>
        </p:spPr>
        <p:txBody>
          <a:bodyPr vert="horz" lIns="0" tIns="45720" rIns="91440" bIns="45720" rtlCol="0" anchor="b">
            <a:noAutofit/>
          </a:bodyPr>
          <a:lstStyle>
            <a:lvl1pPr algn="l" defTabSz="685766" rtl="0" eaLnBrk="1" latinLnBrk="0" hangingPunct="1">
              <a:lnSpc>
                <a:spcPct val="90000"/>
              </a:lnSpc>
              <a:spcBef>
                <a:spcPct val="0"/>
              </a:spcBef>
              <a:buNone/>
              <a:defRPr lang="en-US" sz="3600" b="1" kern="1200" spc="-100" baseline="0" dirty="0">
                <a:gradFill>
                  <a:gsLst>
                    <a:gs pos="4839">
                      <a:schemeClr val="bg1"/>
                    </a:gs>
                    <a:gs pos="10000">
                      <a:schemeClr val="bg1"/>
                    </a:gs>
                  </a:gsLst>
                  <a:lin ang="5400000" scaled="1"/>
                </a:gradFill>
                <a:latin typeface="Arial" panose="020B0604020202020204" pitchFamily="34" charset="0"/>
                <a:ea typeface="Roboto Medium" panose="02000000000000000000" pitchFamily="2" charset="0"/>
                <a:cs typeface="Arial" panose="020B0604020202020204" pitchFamily="34" charset="0"/>
              </a:defRPr>
            </a:lvl1pPr>
          </a:lstStyle>
          <a:p>
            <a:r>
              <a:rPr lang="en-US" dirty="0"/>
              <a:t>Insert title here. </a:t>
            </a:r>
          </a:p>
        </p:txBody>
      </p:sp>
      <p:sp>
        <p:nvSpPr>
          <p:cNvPr id="6" name="Text Placeholder 10"/>
          <p:cNvSpPr>
            <a:spLocks noGrp="1"/>
          </p:cNvSpPr>
          <p:nvPr>
            <p:ph type="body" sz="quarter" idx="15" hasCustomPrompt="1"/>
          </p:nvPr>
        </p:nvSpPr>
        <p:spPr>
          <a:xfrm>
            <a:off x="313932" y="2963121"/>
            <a:ext cx="8445894" cy="232819"/>
          </a:xfrm>
        </p:spPr>
        <p:txBody>
          <a:bodyPr lIns="0" tIns="0" rIns="0" bIns="0">
            <a:noAutofit/>
          </a:bodyPr>
          <a:lstStyle>
            <a:lvl1pPr mar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defRPr lang="en-US" sz="1100" b="0" kern="1200" spc="50" baseline="0" dirty="0">
                <a:gradFill>
                  <a:gsLst>
                    <a:gs pos="7258">
                      <a:srgbClr val="FFFFFF"/>
                    </a:gs>
                    <a:gs pos="19000">
                      <a:srgbClr val="FFFFFF"/>
                    </a:gs>
                  </a:gsLst>
                  <a:lin ang="5400000" scaled="1"/>
                </a:gradFill>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pPr>
            <a:r>
              <a:rPr lang="en-US" dirty="0"/>
              <a:t>This is a title slide. Do not use this for content slides. </a:t>
            </a:r>
          </a:p>
        </p:txBody>
      </p:sp>
      <p:grpSp>
        <p:nvGrpSpPr>
          <p:cNvPr id="8" name="Group 7"/>
          <p:cNvGrpSpPr/>
          <p:nvPr userDrawn="1"/>
        </p:nvGrpSpPr>
        <p:grpSpPr>
          <a:xfrm>
            <a:off x="287792" y="4744879"/>
            <a:ext cx="8565013" cy="194357"/>
            <a:chOff x="304619" y="4744879"/>
            <a:chExt cx="8565013" cy="194357"/>
          </a:xfrm>
        </p:grpSpPr>
        <p:sp>
          <p:nvSpPr>
            <p:cNvPr id="9" name="TextBox 8"/>
            <p:cNvSpPr txBox="1"/>
            <p:nvPr/>
          </p:nvSpPr>
          <p:spPr>
            <a:xfrm>
              <a:off x="304619" y="4800737"/>
              <a:ext cx="592470" cy="138499"/>
            </a:xfrm>
            <a:prstGeom prst="rect">
              <a:avLst/>
            </a:prstGeom>
            <a:noFill/>
          </p:spPr>
          <p:txBody>
            <a:bodyPr wrap="none" lIns="0" bIns="0" rtlCol="0" anchor="b" anchorCtr="0">
              <a:spAutoFit/>
            </a:bodyPr>
            <a:lstStyle/>
            <a:p>
              <a:pPr defTabSz="685755"/>
              <a:r>
                <a:rPr lang="en-AU" sz="600" spc="75">
                  <a:gradFill>
                    <a:gsLst>
                      <a:gs pos="7258">
                        <a:schemeClr val="bg1"/>
                      </a:gs>
                      <a:gs pos="19000">
                        <a:schemeClr val="bg1"/>
                      </a:gs>
                    </a:gsLst>
                    <a:lin ang="5400000" scaled="1"/>
                  </a:gradFill>
                  <a:latin typeface="Arial" panose="020B0604020202020204" pitchFamily="34" charset="0"/>
                  <a:ea typeface="Roboto Light" panose="02000000000000000000" pitchFamily="2" charset="0"/>
                  <a:cs typeface="Arial" panose="020B0604020202020204" pitchFamily="34" charset="0"/>
                </a:rPr>
                <a:t>slalom.com</a:t>
              </a:r>
            </a:p>
          </p:txBody>
        </p:sp>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83832" y="4744879"/>
              <a:ext cx="685800" cy="178733"/>
            </a:xfrm>
            <a:prstGeom prst="rect">
              <a:avLst/>
            </a:prstGeom>
            <a:noFill/>
            <a:ln>
              <a:noFill/>
            </a:ln>
          </p:spPr>
        </p:pic>
      </p:grpSp>
      <p:sp>
        <p:nvSpPr>
          <p:cNvPr id="11" name="Text Placeholder 10"/>
          <p:cNvSpPr>
            <a:spLocks noGrp="1"/>
          </p:cNvSpPr>
          <p:nvPr>
            <p:ph type="body" sz="quarter" idx="22" hasCustomPrompt="1"/>
          </p:nvPr>
        </p:nvSpPr>
        <p:spPr>
          <a:xfrm>
            <a:off x="313932" y="3313367"/>
            <a:ext cx="8445894" cy="208271"/>
          </a:xfrm>
        </p:spPr>
        <p:txBody>
          <a:bodyPr lIns="0" tIns="0" rIns="0" bIns="0">
            <a:normAutofit/>
          </a:bodyPr>
          <a:lstStyle>
            <a:lvl1pPr marL="0" indent="0" algn="l">
              <a:buNone/>
              <a:defRPr sz="900" b="0" kern="0" spc="38" baseline="0">
                <a:solidFill>
                  <a:schemeClr val="accent1">
                    <a:lumMod val="60000"/>
                    <a:lumOff val="40000"/>
                  </a:schemeClr>
                </a:solidFill>
                <a:latin typeface="Arial" panose="020B0604020202020204" pitchFamily="34" charset="0"/>
                <a:ea typeface="Roboto Light" panose="02000000000000000000" pitchFamily="2" charset="0"/>
                <a:cs typeface="Arial" panose="020B0604020202020204" pitchFamily="34" charset="0"/>
              </a:defRPr>
            </a:lvl1pPr>
          </a:lstStyle>
          <a:p>
            <a:pPr lvl="0"/>
            <a:r>
              <a:rPr lang="en-US" dirty="0"/>
              <a:t>Date</a:t>
            </a:r>
          </a:p>
        </p:txBody>
      </p:sp>
    </p:spTree>
    <p:extLst>
      <p:ext uri="{BB962C8B-B14F-4D97-AF65-F5344CB8AC3E}">
        <p14:creationId xmlns:p14="http://schemas.microsoft.com/office/powerpoint/2010/main" val="3110338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am 2">
    <p:bg>
      <p:bgPr>
        <a:solidFill>
          <a:srgbClr val="FFFFFF"/>
        </a:solidFill>
        <a:effectLst/>
      </p:bgPr>
    </p:bg>
    <p:spTree>
      <p:nvGrpSpPr>
        <p:cNvPr id="1" name=""/>
        <p:cNvGrpSpPr/>
        <p:nvPr/>
      </p:nvGrpSpPr>
      <p:grpSpPr>
        <a:xfrm>
          <a:off x="0" y="0"/>
          <a:ext cx="0" cy="0"/>
          <a:chOff x="0" y="0"/>
          <a:chExt cx="0" cy="0"/>
        </a:xfrm>
      </p:grpSpPr>
      <p:sp>
        <p:nvSpPr>
          <p:cNvPr id="16" name="Slide Number Placeholder 5"/>
          <p:cNvSpPr>
            <a:spLocks noGrp="1"/>
          </p:cNvSpPr>
          <p:nvPr>
            <p:ph type="sldNum" sz="quarter" idx="12"/>
          </p:nvPr>
        </p:nvSpPr>
        <p:spPr>
          <a:xfrm>
            <a:off x="8533335" y="4838589"/>
            <a:ext cx="323309" cy="201168"/>
          </a:xfrm>
          <a:prstGeom prst="rect">
            <a:avLst/>
          </a:prstGeom>
        </p:spPr>
        <p:txBody>
          <a:bodyPr lIns="0" tIns="0" rIns="0" bIns="0"/>
          <a:lstStyle>
            <a:lvl1pPr algn="r">
              <a:defRPr lang="en-US" sz="600" smtClean="0"/>
            </a:lvl1pPr>
          </a:lstStyle>
          <a:p>
            <a:fld id="{FCEE2C88-6C8F-484D-AF69-578F576B1F44}" type="slidenum">
              <a:rPr lang="en-US" smtClean="0"/>
              <a:pPr/>
              <a:t>‹#›</a:t>
            </a:fld>
            <a:endParaRPr lang="en-US"/>
          </a:p>
        </p:txBody>
      </p:sp>
      <p:sp>
        <p:nvSpPr>
          <p:cNvPr id="24" name="Picture Placeholder 2"/>
          <p:cNvSpPr>
            <a:spLocks noGrp="1"/>
          </p:cNvSpPr>
          <p:nvPr>
            <p:ph type="pic" idx="17"/>
          </p:nvPr>
        </p:nvSpPr>
        <p:spPr>
          <a:xfrm>
            <a:off x="1216118" y="1115856"/>
            <a:ext cx="875361" cy="875361"/>
          </a:xfrm>
          <a:prstGeom prst="ellipse">
            <a:avLst/>
          </a:prstGeom>
          <a:solidFill>
            <a:schemeClr val="bg1">
              <a:lumMod val="50000"/>
            </a:schemeClr>
          </a:solidFill>
        </p:spPr>
        <p:txBody>
          <a:bodyPr anchor="t">
            <a:normAutofit/>
          </a:bodyPr>
          <a:lstStyle>
            <a:lvl1pPr marL="0" indent="0" algn="ctr">
              <a:buNone/>
              <a:defRPr sz="750">
                <a:gradFill>
                  <a:gsLst>
                    <a:gs pos="2419">
                      <a:schemeClr val="bg1"/>
                    </a:gs>
                    <a:gs pos="8000">
                      <a:schemeClr val="bg1"/>
                    </a:gs>
                  </a:gsLst>
                  <a:lin ang="5400000" scaled="0"/>
                </a:gradFill>
                <a:latin typeface="Arial" panose="020B0604020202020204" pitchFamily="34" charset="0"/>
                <a:cs typeface="Arial" panose="020B0604020202020204" pitchFamily="34" charset="0"/>
              </a:defRPr>
            </a:lvl1pPr>
            <a:lvl2pPr marL="257168" indent="0">
              <a:buNone/>
              <a:defRPr sz="1575"/>
            </a:lvl2pPr>
            <a:lvl3pPr marL="514337" indent="0">
              <a:buNone/>
              <a:defRPr sz="1350"/>
            </a:lvl3pPr>
            <a:lvl4pPr marL="771506" indent="0">
              <a:buNone/>
              <a:defRPr sz="1125"/>
            </a:lvl4pPr>
            <a:lvl5pPr marL="1028675" indent="0">
              <a:buNone/>
              <a:defRPr sz="1125"/>
            </a:lvl5pPr>
            <a:lvl6pPr marL="1285843" indent="0">
              <a:buNone/>
              <a:defRPr sz="1125"/>
            </a:lvl6pPr>
            <a:lvl7pPr marL="1543012" indent="0">
              <a:buNone/>
              <a:defRPr sz="1125"/>
            </a:lvl7pPr>
            <a:lvl8pPr marL="1800180" indent="0">
              <a:buNone/>
              <a:defRPr sz="1125"/>
            </a:lvl8pPr>
            <a:lvl9pPr marL="2057348" indent="0">
              <a:buNone/>
              <a:defRPr sz="1125"/>
            </a:lvl9pPr>
          </a:lstStyle>
          <a:p>
            <a:r>
              <a:rPr lang="en-US"/>
              <a:t>Click icon to add picture</a:t>
            </a:r>
          </a:p>
        </p:txBody>
      </p:sp>
      <p:sp>
        <p:nvSpPr>
          <p:cNvPr id="25" name="Text Placeholder 10"/>
          <p:cNvSpPr>
            <a:spLocks noGrp="1"/>
          </p:cNvSpPr>
          <p:nvPr>
            <p:ph type="body" sz="quarter" idx="18" hasCustomPrompt="1"/>
          </p:nvPr>
        </p:nvSpPr>
        <p:spPr>
          <a:xfrm>
            <a:off x="865943" y="2117882"/>
            <a:ext cx="1575711" cy="215359"/>
          </a:xfrm>
          <a:prstGeom prst="rect">
            <a:avLst/>
          </a:prstGeom>
        </p:spPr>
        <p:txBody>
          <a:bodyPr lIns="0" tIns="0" rIns="0" bIns="0">
            <a:noAutofit/>
          </a:bodyPr>
          <a:lstStyle>
            <a:lvl1pPr marL="0" indent="0" algn="ctr">
              <a:buNone/>
              <a:defRPr sz="1100" b="1">
                <a:solidFill>
                  <a:schemeClr val="accent2"/>
                </a:soli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dirty="0"/>
              <a:t>Click to edit</a:t>
            </a:r>
          </a:p>
        </p:txBody>
      </p:sp>
      <p:sp>
        <p:nvSpPr>
          <p:cNvPr id="26" name="Text Placeholder 10"/>
          <p:cNvSpPr>
            <a:spLocks noGrp="1"/>
          </p:cNvSpPr>
          <p:nvPr>
            <p:ph type="body" sz="quarter" idx="19"/>
          </p:nvPr>
        </p:nvSpPr>
        <p:spPr>
          <a:xfrm>
            <a:off x="865942" y="2351162"/>
            <a:ext cx="1575714" cy="387521"/>
          </a:xfrm>
          <a:prstGeom prst="rect">
            <a:avLst/>
          </a:prstGeom>
        </p:spPr>
        <p:txBody>
          <a:bodyPr lIns="0" tIns="0" rIns="0" bIns="0">
            <a:noAutofit/>
          </a:bodyPr>
          <a:lstStyle>
            <a:lvl1pPr marL="0" indent="0" algn="ctr">
              <a:buNone/>
              <a:defRPr sz="900" i="0">
                <a:gradFill>
                  <a:gsLst>
                    <a:gs pos="28763">
                      <a:schemeClr val="tx1"/>
                    </a:gs>
                    <a:gs pos="15860">
                      <a:schemeClr val="tx1"/>
                    </a:gs>
                  </a:gsLst>
                  <a:lin ang="5400000" scaled="1"/>
                </a:gra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a:t>Click to edit Master text styles</a:t>
            </a:r>
          </a:p>
        </p:txBody>
      </p:sp>
      <p:sp>
        <p:nvSpPr>
          <p:cNvPr id="27" name="Picture Placeholder 2"/>
          <p:cNvSpPr>
            <a:spLocks noGrp="1"/>
          </p:cNvSpPr>
          <p:nvPr>
            <p:ph type="pic" idx="20"/>
          </p:nvPr>
        </p:nvSpPr>
        <p:spPr>
          <a:xfrm>
            <a:off x="3157460" y="1115856"/>
            <a:ext cx="875361" cy="875361"/>
          </a:xfrm>
          <a:prstGeom prst="ellipse">
            <a:avLst/>
          </a:prstGeom>
          <a:solidFill>
            <a:schemeClr val="bg1">
              <a:lumMod val="50000"/>
            </a:schemeClr>
          </a:solidFill>
        </p:spPr>
        <p:txBody>
          <a:bodyPr anchor="t">
            <a:normAutofit/>
          </a:bodyPr>
          <a:lstStyle>
            <a:lvl1pPr marL="0" indent="0" algn="ctr">
              <a:buNone/>
              <a:defRPr sz="750">
                <a:gradFill>
                  <a:gsLst>
                    <a:gs pos="2419">
                      <a:schemeClr val="bg1"/>
                    </a:gs>
                    <a:gs pos="8000">
                      <a:schemeClr val="bg1"/>
                    </a:gs>
                  </a:gsLst>
                  <a:lin ang="5400000" scaled="0"/>
                </a:gradFill>
                <a:latin typeface="Arial" panose="020B0604020202020204" pitchFamily="34" charset="0"/>
                <a:cs typeface="Arial" panose="020B0604020202020204" pitchFamily="34" charset="0"/>
              </a:defRPr>
            </a:lvl1pPr>
            <a:lvl2pPr marL="257168" indent="0">
              <a:buNone/>
              <a:defRPr sz="1575"/>
            </a:lvl2pPr>
            <a:lvl3pPr marL="514337" indent="0">
              <a:buNone/>
              <a:defRPr sz="1350"/>
            </a:lvl3pPr>
            <a:lvl4pPr marL="771506" indent="0">
              <a:buNone/>
              <a:defRPr sz="1125"/>
            </a:lvl4pPr>
            <a:lvl5pPr marL="1028675" indent="0">
              <a:buNone/>
              <a:defRPr sz="1125"/>
            </a:lvl5pPr>
            <a:lvl6pPr marL="1285843" indent="0">
              <a:buNone/>
              <a:defRPr sz="1125"/>
            </a:lvl6pPr>
            <a:lvl7pPr marL="1543012" indent="0">
              <a:buNone/>
              <a:defRPr sz="1125"/>
            </a:lvl7pPr>
            <a:lvl8pPr marL="1800180" indent="0">
              <a:buNone/>
              <a:defRPr sz="1125"/>
            </a:lvl8pPr>
            <a:lvl9pPr marL="2057348" indent="0">
              <a:buNone/>
              <a:defRPr sz="1125"/>
            </a:lvl9pPr>
          </a:lstStyle>
          <a:p>
            <a:r>
              <a:rPr lang="en-US" dirty="0"/>
              <a:t>Click icon to add picture</a:t>
            </a:r>
          </a:p>
        </p:txBody>
      </p:sp>
      <p:sp>
        <p:nvSpPr>
          <p:cNvPr id="28" name="Text Placeholder 10"/>
          <p:cNvSpPr>
            <a:spLocks noGrp="1"/>
          </p:cNvSpPr>
          <p:nvPr>
            <p:ph type="body" sz="quarter" idx="21" hasCustomPrompt="1"/>
          </p:nvPr>
        </p:nvSpPr>
        <p:spPr>
          <a:xfrm>
            <a:off x="2807285" y="2117882"/>
            <a:ext cx="1575711" cy="215359"/>
          </a:xfrm>
          <a:prstGeom prst="rect">
            <a:avLst/>
          </a:prstGeom>
        </p:spPr>
        <p:txBody>
          <a:bodyPr lIns="0" tIns="0" rIns="0" bIns="0">
            <a:noAutofit/>
          </a:bodyPr>
          <a:lstStyle>
            <a:lvl1pPr marL="0" indent="0" algn="ctr">
              <a:buNone/>
              <a:defRPr sz="1100" b="1">
                <a:solidFill>
                  <a:schemeClr val="accent2"/>
                </a:soli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dirty="0"/>
              <a:t>Click to edit</a:t>
            </a:r>
          </a:p>
        </p:txBody>
      </p:sp>
      <p:sp>
        <p:nvSpPr>
          <p:cNvPr id="29" name="Text Placeholder 10"/>
          <p:cNvSpPr>
            <a:spLocks noGrp="1"/>
          </p:cNvSpPr>
          <p:nvPr>
            <p:ph type="body" sz="quarter" idx="22"/>
          </p:nvPr>
        </p:nvSpPr>
        <p:spPr>
          <a:xfrm>
            <a:off x="2807283" y="2351162"/>
            <a:ext cx="1575714" cy="387521"/>
          </a:xfrm>
          <a:prstGeom prst="rect">
            <a:avLst/>
          </a:prstGeom>
        </p:spPr>
        <p:txBody>
          <a:bodyPr lIns="0" tIns="0" rIns="0" bIns="0">
            <a:noAutofit/>
          </a:bodyPr>
          <a:lstStyle>
            <a:lvl1pPr marL="0" indent="0" algn="ctr">
              <a:buNone/>
              <a:defRPr sz="900" i="0">
                <a:gradFill>
                  <a:gsLst>
                    <a:gs pos="28763">
                      <a:schemeClr val="tx1"/>
                    </a:gs>
                    <a:gs pos="15860">
                      <a:schemeClr val="tx1"/>
                    </a:gs>
                  </a:gsLst>
                  <a:lin ang="5400000" scaled="1"/>
                </a:gra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a:t>Click to edit Master text styles</a:t>
            </a:r>
          </a:p>
        </p:txBody>
      </p:sp>
      <p:sp>
        <p:nvSpPr>
          <p:cNvPr id="30" name="Picture Placeholder 2"/>
          <p:cNvSpPr>
            <a:spLocks noGrp="1"/>
          </p:cNvSpPr>
          <p:nvPr>
            <p:ph type="pic" idx="23"/>
          </p:nvPr>
        </p:nvSpPr>
        <p:spPr>
          <a:xfrm>
            <a:off x="5098801" y="1115856"/>
            <a:ext cx="875361" cy="875361"/>
          </a:xfrm>
          <a:prstGeom prst="ellipse">
            <a:avLst/>
          </a:prstGeom>
          <a:solidFill>
            <a:schemeClr val="bg1">
              <a:lumMod val="50000"/>
            </a:schemeClr>
          </a:solidFill>
        </p:spPr>
        <p:txBody>
          <a:bodyPr anchor="t">
            <a:normAutofit/>
          </a:bodyPr>
          <a:lstStyle>
            <a:lvl1pPr marL="0" indent="0" algn="ctr">
              <a:buNone/>
              <a:defRPr sz="750">
                <a:gradFill>
                  <a:gsLst>
                    <a:gs pos="2419">
                      <a:schemeClr val="bg1"/>
                    </a:gs>
                    <a:gs pos="8000">
                      <a:schemeClr val="bg1"/>
                    </a:gs>
                  </a:gsLst>
                  <a:lin ang="5400000" scaled="0"/>
                </a:gradFill>
                <a:latin typeface="Arial" panose="020B0604020202020204" pitchFamily="34" charset="0"/>
                <a:cs typeface="Arial" panose="020B0604020202020204" pitchFamily="34" charset="0"/>
              </a:defRPr>
            </a:lvl1pPr>
            <a:lvl2pPr marL="257168" indent="0">
              <a:buNone/>
              <a:defRPr sz="1575"/>
            </a:lvl2pPr>
            <a:lvl3pPr marL="514337" indent="0">
              <a:buNone/>
              <a:defRPr sz="1350"/>
            </a:lvl3pPr>
            <a:lvl4pPr marL="771506" indent="0">
              <a:buNone/>
              <a:defRPr sz="1125"/>
            </a:lvl4pPr>
            <a:lvl5pPr marL="1028675" indent="0">
              <a:buNone/>
              <a:defRPr sz="1125"/>
            </a:lvl5pPr>
            <a:lvl6pPr marL="1285843" indent="0">
              <a:buNone/>
              <a:defRPr sz="1125"/>
            </a:lvl6pPr>
            <a:lvl7pPr marL="1543012" indent="0">
              <a:buNone/>
              <a:defRPr sz="1125"/>
            </a:lvl7pPr>
            <a:lvl8pPr marL="1800180" indent="0">
              <a:buNone/>
              <a:defRPr sz="1125"/>
            </a:lvl8pPr>
            <a:lvl9pPr marL="2057348" indent="0">
              <a:buNone/>
              <a:defRPr sz="1125"/>
            </a:lvl9pPr>
          </a:lstStyle>
          <a:p>
            <a:r>
              <a:rPr lang="en-US"/>
              <a:t>Click icon to add picture</a:t>
            </a:r>
          </a:p>
        </p:txBody>
      </p:sp>
      <p:sp>
        <p:nvSpPr>
          <p:cNvPr id="31" name="Text Placeholder 10"/>
          <p:cNvSpPr>
            <a:spLocks noGrp="1"/>
          </p:cNvSpPr>
          <p:nvPr>
            <p:ph type="body" sz="quarter" idx="24" hasCustomPrompt="1"/>
          </p:nvPr>
        </p:nvSpPr>
        <p:spPr>
          <a:xfrm>
            <a:off x="4748626" y="2117882"/>
            <a:ext cx="1575711" cy="215359"/>
          </a:xfrm>
          <a:prstGeom prst="rect">
            <a:avLst/>
          </a:prstGeom>
        </p:spPr>
        <p:txBody>
          <a:bodyPr lIns="0" tIns="0" rIns="0" bIns="0">
            <a:noAutofit/>
          </a:bodyPr>
          <a:lstStyle>
            <a:lvl1pPr marL="0" indent="0" algn="ctr">
              <a:buNone/>
              <a:defRPr sz="1100" b="1">
                <a:solidFill>
                  <a:schemeClr val="accent2"/>
                </a:soli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dirty="0"/>
              <a:t>Click to edit</a:t>
            </a:r>
          </a:p>
        </p:txBody>
      </p:sp>
      <p:sp>
        <p:nvSpPr>
          <p:cNvPr id="32" name="Text Placeholder 10"/>
          <p:cNvSpPr>
            <a:spLocks noGrp="1"/>
          </p:cNvSpPr>
          <p:nvPr>
            <p:ph type="body" sz="quarter" idx="25"/>
          </p:nvPr>
        </p:nvSpPr>
        <p:spPr>
          <a:xfrm>
            <a:off x="4748624" y="2351162"/>
            <a:ext cx="1575714" cy="387521"/>
          </a:xfrm>
          <a:prstGeom prst="rect">
            <a:avLst/>
          </a:prstGeom>
        </p:spPr>
        <p:txBody>
          <a:bodyPr lIns="0" tIns="0" rIns="0" bIns="0">
            <a:noAutofit/>
          </a:bodyPr>
          <a:lstStyle>
            <a:lvl1pPr marL="0" indent="0" algn="ctr">
              <a:buNone/>
              <a:defRPr sz="900" i="0">
                <a:gradFill>
                  <a:gsLst>
                    <a:gs pos="28763">
                      <a:schemeClr val="tx1"/>
                    </a:gs>
                    <a:gs pos="15860">
                      <a:schemeClr val="tx1"/>
                    </a:gs>
                  </a:gsLst>
                  <a:lin ang="5400000" scaled="1"/>
                </a:gra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a:t>Click to edit Master text styles</a:t>
            </a:r>
          </a:p>
        </p:txBody>
      </p:sp>
      <p:sp>
        <p:nvSpPr>
          <p:cNvPr id="33" name="Picture Placeholder 2"/>
          <p:cNvSpPr>
            <a:spLocks noGrp="1"/>
          </p:cNvSpPr>
          <p:nvPr>
            <p:ph type="pic" idx="26"/>
          </p:nvPr>
        </p:nvSpPr>
        <p:spPr>
          <a:xfrm>
            <a:off x="7040142" y="1115856"/>
            <a:ext cx="875361" cy="875361"/>
          </a:xfrm>
          <a:prstGeom prst="ellipse">
            <a:avLst/>
          </a:prstGeom>
          <a:solidFill>
            <a:schemeClr val="bg1">
              <a:lumMod val="50000"/>
            </a:schemeClr>
          </a:solidFill>
        </p:spPr>
        <p:txBody>
          <a:bodyPr anchor="t">
            <a:normAutofit/>
          </a:bodyPr>
          <a:lstStyle>
            <a:lvl1pPr marL="0" indent="0" algn="ctr">
              <a:buNone/>
              <a:defRPr sz="750">
                <a:gradFill>
                  <a:gsLst>
                    <a:gs pos="2419">
                      <a:schemeClr val="bg1"/>
                    </a:gs>
                    <a:gs pos="8000">
                      <a:schemeClr val="bg1"/>
                    </a:gs>
                  </a:gsLst>
                  <a:lin ang="5400000" scaled="0"/>
                </a:gradFill>
                <a:latin typeface="Arial" panose="020B0604020202020204" pitchFamily="34" charset="0"/>
                <a:cs typeface="Arial" panose="020B0604020202020204" pitchFamily="34" charset="0"/>
              </a:defRPr>
            </a:lvl1pPr>
            <a:lvl2pPr marL="257168" indent="0">
              <a:buNone/>
              <a:defRPr sz="1575"/>
            </a:lvl2pPr>
            <a:lvl3pPr marL="514337" indent="0">
              <a:buNone/>
              <a:defRPr sz="1350"/>
            </a:lvl3pPr>
            <a:lvl4pPr marL="771506" indent="0">
              <a:buNone/>
              <a:defRPr sz="1125"/>
            </a:lvl4pPr>
            <a:lvl5pPr marL="1028675" indent="0">
              <a:buNone/>
              <a:defRPr sz="1125"/>
            </a:lvl5pPr>
            <a:lvl6pPr marL="1285843" indent="0">
              <a:buNone/>
              <a:defRPr sz="1125"/>
            </a:lvl6pPr>
            <a:lvl7pPr marL="1543012" indent="0">
              <a:buNone/>
              <a:defRPr sz="1125"/>
            </a:lvl7pPr>
            <a:lvl8pPr marL="1800180" indent="0">
              <a:buNone/>
              <a:defRPr sz="1125"/>
            </a:lvl8pPr>
            <a:lvl9pPr marL="2057348" indent="0">
              <a:buNone/>
              <a:defRPr sz="1125"/>
            </a:lvl9pPr>
          </a:lstStyle>
          <a:p>
            <a:r>
              <a:rPr lang="en-US"/>
              <a:t>Click icon to add picture</a:t>
            </a:r>
          </a:p>
        </p:txBody>
      </p:sp>
      <p:sp>
        <p:nvSpPr>
          <p:cNvPr id="34" name="Text Placeholder 10"/>
          <p:cNvSpPr>
            <a:spLocks noGrp="1"/>
          </p:cNvSpPr>
          <p:nvPr>
            <p:ph type="body" sz="quarter" idx="27" hasCustomPrompt="1"/>
          </p:nvPr>
        </p:nvSpPr>
        <p:spPr>
          <a:xfrm>
            <a:off x="6689967" y="2117882"/>
            <a:ext cx="1575711" cy="215359"/>
          </a:xfrm>
          <a:prstGeom prst="rect">
            <a:avLst/>
          </a:prstGeom>
        </p:spPr>
        <p:txBody>
          <a:bodyPr lIns="0" tIns="0" rIns="0" bIns="0">
            <a:noAutofit/>
          </a:bodyPr>
          <a:lstStyle>
            <a:lvl1pPr marL="0" indent="0" algn="ctr">
              <a:buNone/>
              <a:defRPr sz="1100" b="1">
                <a:solidFill>
                  <a:schemeClr val="accent2"/>
                </a:soli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dirty="0"/>
              <a:t>Click to edit</a:t>
            </a:r>
          </a:p>
        </p:txBody>
      </p:sp>
      <p:sp>
        <p:nvSpPr>
          <p:cNvPr id="35" name="Text Placeholder 10"/>
          <p:cNvSpPr>
            <a:spLocks noGrp="1"/>
          </p:cNvSpPr>
          <p:nvPr>
            <p:ph type="body" sz="quarter" idx="28"/>
          </p:nvPr>
        </p:nvSpPr>
        <p:spPr>
          <a:xfrm>
            <a:off x="6689966" y="2351162"/>
            <a:ext cx="1575714" cy="387521"/>
          </a:xfrm>
          <a:prstGeom prst="rect">
            <a:avLst/>
          </a:prstGeom>
        </p:spPr>
        <p:txBody>
          <a:bodyPr lIns="0" tIns="0" rIns="0" bIns="0">
            <a:noAutofit/>
          </a:bodyPr>
          <a:lstStyle>
            <a:lvl1pPr marL="0" indent="0" algn="ctr">
              <a:buNone/>
              <a:defRPr sz="900" i="0">
                <a:gradFill>
                  <a:gsLst>
                    <a:gs pos="28763">
                      <a:schemeClr val="tx1"/>
                    </a:gs>
                    <a:gs pos="15860">
                      <a:schemeClr val="tx1"/>
                    </a:gs>
                  </a:gsLst>
                  <a:lin ang="5400000" scaled="1"/>
                </a:gra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a:t>Click to edit Master text styles</a:t>
            </a:r>
          </a:p>
        </p:txBody>
      </p:sp>
      <p:sp>
        <p:nvSpPr>
          <p:cNvPr id="36" name="Picture Placeholder 2"/>
          <p:cNvSpPr>
            <a:spLocks noGrp="1"/>
          </p:cNvSpPr>
          <p:nvPr>
            <p:ph type="pic" idx="29"/>
          </p:nvPr>
        </p:nvSpPr>
        <p:spPr>
          <a:xfrm>
            <a:off x="1216118" y="2918921"/>
            <a:ext cx="875361" cy="875361"/>
          </a:xfrm>
          <a:prstGeom prst="ellipse">
            <a:avLst/>
          </a:prstGeom>
          <a:solidFill>
            <a:schemeClr val="bg1">
              <a:lumMod val="50000"/>
            </a:schemeClr>
          </a:solidFill>
        </p:spPr>
        <p:txBody>
          <a:bodyPr anchor="t">
            <a:normAutofit/>
          </a:bodyPr>
          <a:lstStyle>
            <a:lvl1pPr marL="0" indent="0" algn="ctr">
              <a:buNone/>
              <a:defRPr sz="750">
                <a:gradFill>
                  <a:gsLst>
                    <a:gs pos="2419">
                      <a:schemeClr val="bg1"/>
                    </a:gs>
                    <a:gs pos="8000">
                      <a:schemeClr val="bg1"/>
                    </a:gs>
                  </a:gsLst>
                  <a:lin ang="5400000" scaled="0"/>
                </a:gradFill>
                <a:latin typeface="Arial" panose="020B0604020202020204" pitchFamily="34" charset="0"/>
                <a:cs typeface="Arial" panose="020B0604020202020204" pitchFamily="34" charset="0"/>
              </a:defRPr>
            </a:lvl1pPr>
            <a:lvl2pPr marL="257168" indent="0">
              <a:buNone/>
              <a:defRPr sz="1575"/>
            </a:lvl2pPr>
            <a:lvl3pPr marL="514337" indent="0">
              <a:buNone/>
              <a:defRPr sz="1350"/>
            </a:lvl3pPr>
            <a:lvl4pPr marL="771506" indent="0">
              <a:buNone/>
              <a:defRPr sz="1125"/>
            </a:lvl4pPr>
            <a:lvl5pPr marL="1028675" indent="0">
              <a:buNone/>
              <a:defRPr sz="1125"/>
            </a:lvl5pPr>
            <a:lvl6pPr marL="1285843" indent="0">
              <a:buNone/>
              <a:defRPr sz="1125"/>
            </a:lvl6pPr>
            <a:lvl7pPr marL="1543012" indent="0">
              <a:buNone/>
              <a:defRPr sz="1125"/>
            </a:lvl7pPr>
            <a:lvl8pPr marL="1800180" indent="0">
              <a:buNone/>
              <a:defRPr sz="1125"/>
            </a:lvl8pPr>
            <a:lvl9pPr marL="2057348" indent="0">
              <a:buNone/>
              <a:defRPr sz="1125"/>
            </a:lvl9pPr>
          </a:lstStyle>
          <a:p>
            <a:r>
              <a:rPr lang="en-US"/>
              <a:t>Click icon to add picture</a:t>
            </a:r>
          </a:p>
        </p:txBody>
      </p:sp>
      <p:sp>
        <p:nvSpPr>
          <p:cNvPr id="37" name="Text Placeholder 10"/>
          <p:cNvSpPr>
            <a:spLocks noGrp="1"/>
          </p:cNvSpPr>
          <p:nvPr>
            <p:ph type="body" sz="quarter" idx="30" hasCustomPrompt="1"/>
          </p:nvPr>
        </p:nvSpPr>
        <p:spPr>
          <a:xfrm>
            <a:off x="865943" y="3920946"/>
            <a:ext cx="1575711" cy="215359"/>
          </a:xfrm>
          <a:prstGeom prst="rect">
            <a:avLst/>
          </a:prstGeom>
        </p:spPr>
        <p:txBody>
          <a:bodyPr lIns="0" tIns="0" rIns="0" bIns="0">
            <a:noAutofit/>
          </a:bodyPr>
          <a:lstStyle>
            <a:lvl1pPr marL="0" indent="0" algn="ctr">
              <a:buNone/>
              <a:defRPr sz="1100" b="1">
                <a:solidFill>
                  <a:schemeClr val="accent2"/>
                </a:soli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dirty="0"/>
              <a:t>Click to edit</a:t>
            </a:r>
          </a:p>
        </p:txBody>
      </p:sp>
      <p:sp>
        <p:nvSpPr>
          <p:cNvPr id="38" name="Text Placeholder 10"/>
          <p:cNvSpPr>
            <a:spLocks noGrp="1"/>
          </p:cNvSpPr>
          <p:nvPr>
            <p:ph type="body" sz="quarter" idx="31"/>
          </p:nvPr>
        </p:nvSpPr>
        <p:spPr>
          <a:xfrm>
            <a:off x="865942" y="4154227"/>
            <a:ext cx="1575714" cy="387521"/>
          </a:xfrm>
          <a:prstGeom prst="rect">
            <a:avLst/>
          </a:prstGeom>
        </p:spPr>
        <p:txBody>
          <a:bodyPr lIns="0" tIns="0" rIns="0" bIns="0">
            <a:noAutofit/>
          </a:bodyPr>
          <a:lstStyle>
            <a:lvl1pPr marL="0" indent="0" algn="ctr">
              <a:buNone/>
              <a:defRPr sz="900" i="0">
                <a:gradFill>
                  <a:gsLst>
                    <a:gs pos="28763">
                      <a:schemeClr val="tx1"/>
                    </a:gs>
                    <a:gs pos="15860">
                      <a:schemeClr val="tx1"/>
                    </a:gs>
                  </a:gsLst>
                  <a:lin ang="5400000" scaled="1"/>
                </a:gra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a:t>Click to edit Master text styles</a:t>
            </a:r>
          </a:p>
        </p:txBody>
      </p:sp>
      <p:sp>
        <p:nvSpPr>
          <p:cNvPr id="39" name="Picture Placeholder 2"/>
          <p:cNvSpPr>
            <a:spLocks noGrp="1"/>
          </p:cNvSpPr>
          <p:nvPr>
            <p:ph type="pic" idx="32"/>
          </p:nvPr>
        </p:nvSpPr>
        <p:spPr>
          <a:xfrm>
            <a:off x="3157460" y="2918921"/>
            <a:ext cx="875361" cy="875361"/>
          </a:xfrm>
          <a:prstGeom prst="ellipse">
            <a:avLst/>
          </a:prstGeom>
          <a:solidFill>
            <a:schemeClr val="bg1">
              <a:lumMod val="50000"/>
            </a:schemeClr>
          </a:solidFill>
        </p:spPr>
        <p:txBody>
          <a:bodyPr anchor="t">
            <a:normAutofit/>
          </a:bodyPr>
          <a:lstStyle>
            <a:lvl1pPr marL="0" indent="0" algn="ctr">
              <a:buNone/>
              <a:defRPr sz="750">
                <a:gradFill>
                  <a:gsLst>
                    <a:gs pos="2419">
                      <a:schemeClr val="bg1"/>
                    </a:gs>
                    <a:gs pos="8000">
                      <a:schemeClr val="bg1"/>
                    </a:gs>
                  </a:gsLst>
                  <a:lin ang="5400000" scaled="0"/>
                </a:gradFill>
                <a:latin typeface="Arial" panose="020B0604020202020204" pitchFamily="34" charset="0"/>
                <a:cs typeface="Arial" panose="020B0604020202020204" pitchFamily="34" charset="0"/>
              </a:defRPr>
            </a:lvl1pPr>
            <a:lvl2pPr marL="257168" indent="0">
              <a:buNone/>
              <a:defRPr sz="1575"/>
            </a:lvl2pPr>
            <a:lvl3pPr marL="514337" indent="0">
              <a:buNone/>
              <a:defRPr sz="1350"/>
            </a:lvl3pPr>
            <a:lvl4pPr marL="771506" indent="0">
              <a:buNone/>
              <a:defRPr sz="1125"/>
            </a:lvl4pPr>
            <a:lvl5pPr marL="1028675" indent="0">
              <a:buNone/>
              <a:defRPr sz="1125"/>
            </a:lvl5pPr>
            <a:lvl6pPr marL="1285843" indent="0">
              <a:buNone/>
              <a:defRPr sz="1125"/>
            </a:lvl6pPr>
            <a:lvl7pPr marL="1543012" indent="0">
              <a:buNone/>
              <a:defRPr sz="1125"/>
            </a:lvl7pPr>
            <a:lvl8pPr marL="1800180" indent="0">
              <a:buNone/>
              <a:defRPr sz="1125"/>
            </a:lvl8pPr>
            <a:lvl9pPr marL="2057348" indent="0">
              <a:buNone/>
              <a:defRPr sz="1125"/>
            </a:lvl9pPr>
          </a:lstStyle>
          <a:p>
            <a:r>
              <a:rPr lang="en-US"/>
              <a:t>Click icon to add picture</a:t>
            </a:r>
          </a:p>
        </p:txBody>
      </p:sp>
      <p:sp>
        <p:nvSpPr>
          <p:cNvPr id="40" name="Text Placeholder 10"/>
          <p:cNvSpPr>
            <a:spLocks noGrp="1"/>
          </p:cNvSpPr>
          <p:nvPr>
            <p:ph type="body" sz="quarter" idx="33" hasCustomPrompt="1"/>
          </p:nvPr>
        </p:nvSpPr>
        <p:spPr>
          <a:xfrm>
            <a:off x="2807285" y="3920946"/>
            <a:ext cx="1575711" cy="215359"/>
          </a:xfrm>
          <a:prstGeom prst="rect">
            <a:avLst/>
          </a:prstGeom>
        </p:spPr>
        <p:txBody>
          <a:bodyPr lIns="0" tIns="0" rIns="0" bIns="0">
            <a:noAutofit/>
          </a:bodyPr>
          <a:lstStyle>
            <a:lvl1pPr marL="0" indent="0" algn="ctr">
              <a:buNone/>
              <a:defRPr sz="1100" b="1">
                <a:solidFill>
                  <a:schemeClr val="accent2"/>
                </a:soli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dirty="0"/>
              <a:t>Click to edit</a:t>
            </a:r>
          </a:p>
        </p:txBody>
      </p:sp>
      <p:sp>
        <p:nvSpPr>
          <p:cNvPr id="41" name="Text Placeholder 10"/>
          <p:cNvSpPr>
            <a:spLocks noGrp="1"/>
          </p:cNvSpPr>
          <p:nvPr>
            <p:ph type="body" sz="quarter" idx="34"/>
          </p:nvPr>
        </p:nvSpPr>
        <p:spPr>
          <a:xfrm>
            <a:off x="2807283" y="4154227"/>
            <a:ext cx="1575714" cy="387521"/>
          </a:xfrm>
          <a:prstGeom prst="rect">
            <a:avLst/>
          </a:prstGeom>
        </p:spPr>
        <p:txBody>
          <a:bodyPr lIns="0" tIns="0" rIns="0" bIns="0">
            <a:noAutofit/>
          </a:bodyPr>
          <a:lstStyle>
            <a:lvl1pPr marL="0" indent="0" algn="ctr">
              <a:buNone/>
              <a:defRPr sz="900" i="0">
                <a:gradFill>
                  <a:gsLst>
                    <a:gs pos="28763">
                      <a:schemeClr val="tx1"/>
                    </a:gs>
                    <a:gs pos="15860">
                      <a:schemeClr val="tx1"/>
                    </a:gs>
                  </a:gsLst>
                  <a:lin ang="5400000" scaled="1"/>
                </a:gra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a:t>Click to edit Master text styles</a:t>
            </a:r>
          </a:p>
        </p:txBody>
      </p:sp>
      <p:sp>
        <p:nvSpPr>
          <p:cNvPr id="42" name="Picture Placeholder 2"/>
          <p:cNvSpPr>
            <a:spLocks noGrp="1"/>
          </p:cNvSpPr>
          <p:nvPr>
            <p:ph type="pic" idx="35"/>
          </p:nvPr>
        </p:nvSpPr>
        <p:spPr>
          <a:xfrm>
            <a:off x="5098801" y="2918921"/>
            <a:ext cx="875361" cy="875361"/>
          </a:xfrm>
          <a:prstGeom prst="ellipse">
            <a:avLst/>
          </a:prstGeom>
          <a:solidFill>
            <a:schemeClr val="bg1">
              <a:lumMod val="50000"/>
            </a:schemeClr>
          </a:solidFill>
        </p:spPr>
        <p:txBody>
          <a:bodyPr anchor="t">
            <a:normAutofit/>
          </a:bodyPr>
          <a:lstStyle>
            <a:lvl1pPr marL="0" indent="0" algn="ctr">
              <a:buNone/>
              <a:defRPr sz="750">
                <a:gradFill>
                  <a:gsLst>
                    <a:gs pos="2419">
                      <a:schemeClr val="bg1"/>
                    </a:gs>
                    <a:gs pos="8000">
                      <a:schemeClr val="bg1"/>
                    </a:gs>
                  </a:gsLst>
                  <a:lin ang="5400000" scaled="0"/>
                </a:gradFill>
                <a:latin typeface="Arial" panose="020B0604020202020204" pitchFamily="34" charset="0"/>
                <a:cs typeface="Arial" panose="020B0604020202020204" pitchFamily="34" charset="0"/>
              </a:defRPr>
            </a:lvl1pPr>
            <a:lvl2pPr marL="257168" indent="0">
              <a:buNone/>
              <a:defRPr sz="1575"/>
            </a:lvl2pPr>
            <a:lvl3pPr marL="514337" indent="0">
              <a:buNone/>
              <a:defRPr sz="1350"/>
            </a:lvl3pPr>
            <a:lvl4pPr marL="771506" indent="0">
              <a:buNone/>
              <a:defRPr sz="1125"/>
            </a:lvl4pPr>
            <a:lvl5pPr marL="1028675" indent="0">
              <a:buNone/>
              <a:defRPr sz="1125"/>
            </a:lvl5pPr>
            <a:lvl6pPr marL="1285843" indent="0">
              <a:buNone/>
              <a:defRPr sz="1125"/>
            </a:lvl6pPr>
            <a:lvl7pPr marL="1543012" indent="0">
              <a:buNone/>
              <a:defRPr sz="1125"/>
            </a:lvl7pPr>
            <a:lvl8pPr marL="1800180" indent="0">
              <a:buNone/>
              <a:defRPr sz="1125"/>
            </a:lvl8pPr>
            <a:lvl9pPr marL="2057348" indent="0">
              <a:buNone/>
              <a:defRPr sz="1125"/>
            </a:lvl9pPr>
          </a:lstStyle>
          <a:p>
            <a:r>
              <a:rPr lang="en-US"/>
              <a:t>Click icon to add picture</a:t>
            </a:r>
          </a:p>
        </p:txBody>
      </p:sp>
      <p:sp>
        <p:nvSpPr>
          <p:cNvPr id="43" name="Text Placeholder 10"/>
          <p:cNvSpPr>
            <a:spLocks noGrp="1"/>
          </p:cNvSpPr>
          <p:nvPr>
            <p:ph type="body" sz="quarter" idx="36" hasCustomPrompt="1"/>
          </p:nvPr>
        </p:nvSpPr>
        <p:spPr>
          <a:xfrm>
            <a:off x="4748626" y="3920946"/>
            <a:ext cx="1575711" cy="215359"/>
          </a:xfrm>
          <a:prstGeom prst="rect">
            <a:avLst/>
          </a:prstGeom>
        </p:spPr>
        <p:txBody>
          <a:bodyPr lIns="0" tIns="0" rIns="0" bIns="0">
            <a:noAutofit/>
          </a:bodyPr>
          <a:lstStyle>
            <a:lvl1pPr marL="0" indent="0" algn="ctr">
              <a:buNone/>
              <a:defRPr sz="1100" b="1">
                <a:solidFill>
                  <a:schemeClr val="accent2"/>
                </a:soli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dirty="0"/>
              <a:t>Click to edit</a:t>
            </a:r>
          </a:p>
        </p:txBody>
      </p:sp>
      <p:sp>
        <p:nvSpPr>
          <p:cNvPr id="44" name="Text Placeholder 10"/>
          <p:cNvSpPr>
            <a:spLocks noGrp="1"/>
          </p:cNvSpPr>
          <p:nvPr>
            <p:ph type="body" sz="quarter" idx="37"/>
          </p:nvPr>
        </p:nvSpPr>
        <p:spPr>
          <a:xfrm>
            <a:off x="4748624" y="4154227"/>
            <a:ext cx="1575714" cy="387521"/>
          </a:xfrm>
          <a:prstGeom prst="rect">
            <a:avLst/>
          </a:prstGeom>
        </p:spPr>
        <p:txBody>
          <a:bodyPr lIns="0" tIns="0" rIns="0" bIns="0">
            <a:noAutofit/>
          </a:bodyPr>
          <a:lstStyle>
            <a:lvl1pPr marL="0" indent="0" algn="ctr">
              <a:buNone/>
              <a:defRPr sz="900" i="0">
                <a:gradFill>
                  <a:gsLst>
                    <a:gs pos="28763">
                      <a:schemeClr val="tx1"/>
                    </a:gs>
                    <a:gs pos="15860">
                      <a:schemeClr val="tx1"/>
                    </a:gs>
                  </a:gsLst>
                  <a:lin ang="5400000" scaled="1"/>
                </a:gra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a:t>Click to edit Master text styles</a:t>
            </a:r>
          </a:p>
        </p:txBody>
      </p:sp>
      <p:sp>
        <p:nvSpPr>
          <p:cNvPr id="45" name="Picture Placeholder 2"/>
          <p:cNvSpPr>
            <a:spLocks noGrp="1"/>
          </p:cNvSpPr>
          <p:nvPr>
            <p:ph type="pic" idx="38"/>
          </p:nvPr>
        </p:nvSpPr>
        <p:spPr>
          <a:xfrm>
            <a:off x="7040142" y="2918921"/>
            <a:ext cx="875361" cy="875361"/>
          </a:xfrm>
          <a:prstGeom prst="ellipse">
            <a:avLst/>
          </a:prstGeom>
          <a:solidFill>
            <a:schemeClr val="bg1">
              <a:lumMod val="50000"/>
            </a:schemeClr>
          </a:solidFill>
        </p:spPr>
        <p:txBody>
          <a:bodyPr anchor="t">
            <a:normAutofit/>
          </a:bodyPr>
          <a:lstStyle>
            <a:lvl1pPr marL="0" indent="0" algn="ctr">
              <a:buNone/>
              <a:defRPr sz="750">
                <a:gradFill>
                  <a:gsLst>
                    <a:gs pos="2419">
                      <a:schemeClr val="bg1"/>
                    </a:gs>
                    <a:gs pos="8000">
                      <a:schemeClr val="bg1"/>
                    </a:gs>
                  </a:gsLst>
                  <a:lin ang="5400000" scaled="0"/>
                </a:gradFill>
                <a:latin typeface="Arial" panose="020B0604020202020204" pitchFamily="34" charset="0"/>
                <a:cs typeface="Arial" panose="020B0604020202020204" pitchFamily="34" charset="0"/>
              </a:defRPr>
            </a:lvl1pPr>
            <a:lvl2pPr marL="257168" indent="0">
              <a:buNone/>
              <a:defRPr sz="1575"/>
            </a:lvl2pPr>
            <a:lvl3pPr marL="514337" indent="0">
              <a:buNone/>
              <a:defRPr sz="1350"/>
            </a:lvl3pPr>
            <a:lvl4pPr marL="771506" indent="0">
              <a:buNone/>
              <a:defRPr sz="1125"/>
            </a:lvl4pPr>
            <a:lvl5pPr marL="1028675" indent="0">
              <a:buNone/>
              <a:defRPr sz="1125"/>
            </a:lvl5pPr>
            <a:lvl6pPr marL="1285843" indent="0">
              <a:buNone/>
              <a:defRPr sz="1125"/>
            </a:lvl6pPr>
            <a:lvl7pPr marL="1543012" indent="0">
              <a:buNone/>
              <a:defRPr sz="1125"/>
            </a:lvl7pPr>
            <a:lvl8pPr marL="1800180" indent="0">
              <a:buNone/>
              <a:defRPr sz="1125"/>
            </a:lvl8pPr>
            <a:lvl9pPr marL="2057348" indent="0">
              <a:buNone/>
              <a:defRPr sz="1125"/>
            </a:lvl9pPr>
          </a:lstStyle>
          <a:p>
            <a:r>
              <a:rPr lang="en-US"/>
              <a:t>Click icon to add picture</a:t>
            </a:r>
          </a:p>
        </p:txBody>
      </p:sp>
      <p:sp>
        <p:nvSpPr>
          <p:cNvPr id="46" name="Text Placeholder 10"/>
          <p:cNvSpPr>
            <a:spLocks noGrp="1"/>
          </p:cNvSpPr>
          <p:nvPr>
            <p:ph type="body" sz="quarter" idx="39" hasCustomPrompt="1"/>
          </p:nvPr>
        </p:nvSpPr>
        <p:spPr>
          <a:xfrm>
            <a:off x="6689967" y="3920946"/>
            <a:ext cx="1575711" cy="215359"/>
          </a:xfrm>
          <a:prstGeom prst="rect">
            <a:avLst/>
          </a:prstGeom>
        </p:spPr>
        <p:txBody>
          <a:bodyPr lIns="0" tIns="0" rIns="0" bIns="0">
            <a:noAutofit/>
          </a:bodyPr>
          <a:lstStyle>
            <a:lvl1pPr marL="0" indent="0" algn="ctr">
              <a:buNone/>
              <a:defRPr sz="1100" b="1">
                <a:solidFill>
                  <a:schemeClr val="accent2"/>
                </a:soli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dirty="0"/>
              <a:t>Click to edit</a:t>
            </a:r>
          </a:p>
        </p:txBody>
      </p:sp>
      <p:sp>
        <p:nvSpPr>
          <p:cNvPr id="47" name="Text Placeholder 10"/>
          <p:cNvSpPr>
            <a:spLocks noGrp="1"/>
          </p:cNvSpPr>
          <p:nvPr>
            <p:ph type="body" sz="quarter" idx="40"/>
          </p:nvPr>
        </p:nvSpPr>
        <p:spPr>
          <a:xfrm>
            <a:off x="6689966" y="4154227"/>
            <a:ext cx="1575714" cy="387521"/>
          </a:xfrm>
          <a:prstGeom prst="rect">
            <a:avLst/>
          </a:prstGeom>
        </p:spPr>
        <p:txBody>
          <a:bodyPr lIns="0" tIns="0" rIns="0" bIns="0">
            <a:noAutofit/>
          </a:bodyPr>
          <a:lstStyle>
            <a:lvl1pPr marL="0" indent="0" algn="ctr">
              <a:buNone/>
              <a:defRPr sz="900" i="0">
                <a:gradFill>
                  <a:gsLst>
                    <a:gs pos="28763">
                      <a:schemeClr val="tx1"/>
                    </a:gs>
                    <a:gs pos="15860">
                      <a:schemeClr val="tx1"/>
                    </a:gs>
                  </a:gsLst>
                  <a:lin ang="5400000" scaled="1"/>
                </a:gra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a:t>Click to edit Master text styles</a:t>
            </a:r>
          </a:p>
        </p:txBody>
      </p:sp>
      <p:sp>
        <p:nvSpPr>
          <p:cNvPr id="52" name="Text Placeholder 10"/>
          <p:cNvSpPr>
            <a:spLocks noGrp="1"/>
          </p:cNvSpPr>
          <p:nvPr>
            <p:ph type="body" sz="quarter" idx="14" hasCustomPrompt="1"/>
          </p:nvPr>
        </p:nvSpPr>
        <p:spPr>
          <a:xfrm>
            <a:off x="304801" y="325090"/>
            <a:ext cx="8534400" cy="337614"/>
          </a:xfrm>
        </p:spPr>
        <p:txBody>
          <a:bodyPr vert="horz" wrap="square" lIns="0" tIns="0" rIns="0" bIns="0" rtlCol="0">
            <a:noAutofit/>
          </a:bodyPr>
          <a:lstStyle>
            <a:lvl1pPr marL="285750" indent="-285750">
              <a:buFont typeface="Arial" panose="020B0604020202020204" pitchFamily="34" charset="0"/>
              <a:buNone/>
              <a:defRPr lang="en-US" sz="2400" b="0" kern="0" spc="-70" baseline="0" dirty="0">
                <a:gradFill>
                  <a:gsLst>
                    <a:gs pos="2419">
                      <a:schemeClr val="accent2"/>
                    </a:gs>
                    <a:gs pos="7000">
                      <a:schemeClr val="accent2"/>
                    </a:gs>
                  </a:gsLst>
                  <a:lin ang="5400000" scaled="1"/>
                </a:gradFill>
                <a:latin typeface="Arial" panose="020B0604020202020204" pitchFamily="34" charset="0"/>
                <a:ea typeface="Roboto Medium" panose="02000000000000000000" pitchFamily="2" charset="0"/>
                <a:cs typeface="Arial" panose="020B0604020202020204" pitchFamily="34" charset="0"/>
              </a:defRPr>
            </a:lvl1pPr>
          </a:lstStyle>
          <a:p>
            <a:pPr marL="0" lvl="0" indent="0" algn="l" defTabSz="914400" rtl="0" eaLnBrk="1" latinLnBrk="0" hangingPunct="1">
              <a:lnSpc>
                <a:spcPct val="90000"/>
              </a:lnSpc>
              <a:spcBef>
                <a:spcPts val="1200"/>
              </a:spcBef>
              <a:buClr>
                <a:srgbClr val="0072C8"/>
              </a:buClr>
              <a:buSzPct val="110000"/>
              <a:buFont typeface="Arial" panose="020B0604020202020204" pitchFamily="34" charset="0"/>
              <a:buNone/>
            </a:pPr>
            <a:r>
              <a:rPr lang="en-US" dirty="0"/>
              <a:t>Insert slide title here</a:t>
            </a:r>
          </a:p>
        </p:txBody>
      </p:sp>
      <p:sp>
        <p:nvSpPr>
          <p:cNvPr id="53" name="Text Placeholder 4"/>
          <p:cNvSpPr>
            <a:spLocks noGrp="1"/>
          </p:cNvSpPr>
          <p:nvPr>
            <p:ph type="body" sz="quarter" idx="16"/>
          </p:nvPr>
        </p:nvSpPr>
        <p:spPr>
          <a:xfrm>
            <a:off x="312788" y="771212"/>
            <a:ext cx="8524151" cy="170816"/>
          </a:xfrm>
        </p:spPr>
        <p:txBody>
          <a:bodyPr tIns="0"/>
          <a:lstStyle>
            <a:lvl1pPr marL="0" indent="0">
              <a:buNone/>
              <a:defRPr lang="en-US" sz="1100" kern="1200" spc="40" baseline="0" dirty="0" smtClean="0">
                <a:gradFill>
                  <a:gsLst>
                    <a:gs pos="2419">
                      <a:schemeClr val="bg1">
                        <a:lumMod val="50000"/>
                      </a:schemeClr>
                    </a:gs>
                    <a:gs pos="8000">
                      <a:schemeClr val="bg1">
                        <a:lumMod val="50000"/>
                      </a:schemeClr>
                    </a:gs>
                  </a:gsLst>
                  <a:lin ang="5400000" scaled="0"/>
                </a:gra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dirty="0"/>
              <a:t>Click to edit Master text styles</a:t>
            </a:r>
          </a:p>
        </p:txBody>
      </p:sp>
      <p:sp>
        <p:nvSpPr>
          <p:cNvPr id="48" name="TextBox 47"/>
          <p:cNvSpPr txBox="1"/>
          <p:nvPr userDrawn="1"/>
        </p:nvSpPr>
        <p:spPr>
          <a:xfrm>
            <a:off x="304800" y="4800737"/>
            <a:ext cx="592470" cy="138499"/>
          </a:xfrm>
          <a:prstGeom prst="rect">
            <a:avLst/>
          </a:prstGeom>
          <a:noFill/>
        </p:spPr>
        <p:txBody>
          <a:bodyPr wrap="none" lIns="0" bIns="0" rtlCol="0" anchor="b" anchorCtr="0">
            <a:spAutoFit/>
          </a:bodyPr>
          <a:lstStyle/>
          <a:p>
            <a:pPr defTabSz="685755"/>
            <a:r>
              <a:rPr lang="en-AU" sz="600" spc="75">
                <a:gradFill>
                  <a:gsLst>
                    <a:gs pos="7258">
                      <a:schemeClr val="accent2"/>
                    </a:gs>
                    <a:gs pos="19000">
                      <a:schemeClr val="accent2"/>
                    </a:gs>
                  </a:gsLst>
                  <a:lin ang="5400000" scaled="1"/>
                </a:gradFill>
                <a:latin typeface="Arial" panose="020B0604020202020204" pitchFamily="34" charset="0"/>
                <a:ea typeface="Roboto Light" panose="02000000000000000000" pitchFamily="2" charset="0"/>
                <a:cs typeface="Arial" panose="020B0604020202020204" pitchFamily="34" charset="0"/>
              </a:rPr>
              <a:t>slalom.com</a:t>
            </a:r>
          </a:p>
        </p:txBody>
      </p:sp>
    </p:spTree>
    <p:extLst>
      <p:ext uri="{BB962C8B-B14F-4D97-AF65-F5344CB8AC3E}">
        <p14:creationId xmlns:p14="http://schemas.microsoft.com/office/powerpoint/2010/main" val="11557421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Blank">
    <p:bg>
      <p:bgPr>
        <a:solidFill>
          <a:srgbClr val="FFFFFF"/>
        </a:solidFill>
        <a:effectLst/>
      </p:bgPr>
    </p:bg>
    <p:spTree>
      <p:nvGrpSpPr>
        <p:cNvPr id="1" name=""/>
        <p:cNvGrpSpPr/>
        <p:nvPr/>
      </p:nvGrpSpPr>
      <p:grpSpPr>
        <a:xfrm>
          <a:off x="0" y="0"/>
          <a:ext cx="0" cy="0"/>
          <a:chOff x="0" y="0"/>
          <a:chExt cx="0" cy="0"/>
        </a:xfrm>
      </p:grpSpPr>
      <p:sp>
        <p:nvSpPr>
          <p:cNvPr id="2" name="Slide Number Placeholder 5"/>
          <p:cNvSpPr>
            <a:spLocks noGrp="1"/>
          </p:cNvSpPr>
          <p:nvPr>
            <p:ph type="sldNum" sz="quarter" idx="12"/>
          </p:nvPr>
        </p:nvSpPr>
        <p:spPr>
          <a:xfrm>
            <a:off x="8533335" y="4838589"/>
            <a:ext cx="323309" cy="201168"/>
          </a:xfrm>
          <a:prstGeom prst="rect">
            <a:avLst/>
          </a:prstGeom>
        </p:spPr>
        <p:txBody>
          <a:bodyPr lIns="0" tIns="0" rIns="0" bIns="0"/>
          <a:lstStyle>
            <a:lvl1pPr algn="r">
              <a:defRPr lang="en-US" sz="600" smtClean="0"/>
            </a:lvl1pPr>
          </a:lstStyle>
          <a:p>
            <a:fld id="{7DA0DAFF-DD53-4E09-94A3-3FB757666A6B}" type="slidenum">
              <a:rPr lang="en-US" smtClean="0"/>
              <a:pPr/>
              <a:t>‹#›</a:t>
            </a:fld>
            <a:endParaRPr lang="en-US"/>
          </a:p>
        </p:txBody>
      </p:sp>
      <p:sp>
        <p:nvSpPr>
          <p:cNvPr id="3" name="TextBox 2"/>
          <p:cNvSpPr txBox="1"/>
          <p:nvPr userDrawn="1"/>
        </p:nvSpPr>
        <p:spPr>
          <a:xfrm>
            <a:off x="304800" y="4800737"/>
            <a:ext cx="592470" cy="138499"/>
          </a:xfrm>
          <a:prstGeom prst="rect">
            <a:avLst/>
          </a:prstGeom>
          <a:noFill/>
        </p:spPr>
        <p:txBody>
          <a:bodyPr wrap="none" lIns="0" bIns="0" rtlCol="0" anchor="b" anchorCtr="0">
            <a:spAutoFit/>
          </a:bodyPr>
          <a:lstStyle/>
          <a:p>
            <a:pPr defTabSz="685755"/>
            <a:r>
              <a:rPr lang="en-AU" sz="600" spc="75">
                <a:gradFill>
                  <a:gsLst>
                    <a:gs pos="7258">
                      <a:schemeClr val="accent2"/>
                    </a:gs>
                    <a:gs pos="19000">
                      <a:schemeClr val="accent2"/>
                    </a:gs>
                  </a:gsLst>
                  <a:lin ang="5400000" scaled="1"/>
                </a:gradFill>
                <a:latin typeface="Arial" panose="020B0604020202020204" pitchFamily="34" charset="0"/>
                <a:ea typeface="Roboto Light" panose="02000000000000000000" pitchFamily="2" charset="0"/>
                <a:cs typeface="Arial" panose="020B0604020202020204" pitchFamily="34" charset="0"/>
              </a:rPr>
              <a:t>slalom.com</a:t>
            </a:r>
          </a:p>
        </p:txBody>
      </p:sp>
    </p:spTree>
    <p:extLst>
      <p:ext uri="{BB962C8B-B14F-4D97-AF65-F5344CB8AC3E}">
        <p14:creationId xmlns:p14="http://schemas.microsoft.com/office/powerpoint/2010/main" val="11885109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_Confidentiality">
    <p:bg>
      <p:bgPr>
        <a:solidFill>
          <a:srgbClr val="FFFFFF"/>
        </a:solidFill>
        <a:effectLst/>
      </p:bgPr>
    </p:bg>
    <p:spTree>
      <p:nvGrpSpPr>
        <p:cNvPr id="1" name=""/>
        <p:cNvGrpSpPr/>
        <p:nvPr/>
      </p:nvGrpSpPr>
      <p:grpSpPr>
        <a:xfrm>
          <a:off x="0" y="0"/>
          <a:ext cx="0" cy="0"/>
          <a:chOff x="0" y="0"/>
          <a:chExt cx="0" cy="0"/>
        </a:xfrm>
      </p:grpSpPr>
      <p:sp>
        <p:nvSpPr>
          <p:cNvPr id="3" name="Slide Number Placeholder 5"/>
          <p:cNvSpPr>
            <a:spLocks noGrp="1"/>
          </p:cNvSpPr>
          <p:nvPr>
            <p:ph type="sldNum" sz="quarter" idx="12"/>
          </p:nvPr>
        </p:nvSpPr>
        <p:spPr>
          <a:xfrm>
            <a:off x="8533335" y="4838589"/>
            <a:ext cx="323309" cy="201168"/>
          </a:xfrm>
          <a:prstGeom prst="rect">
            <a:avLst/>
          </a:prstGeom>
        </p:spPr>
        <p:txBody>
          <a:bodyPr lIns="0" tIns="0" rIns="0" bIns="0"/>
          <a:lstStyle>
            <a:lvl1pPr algn="r">
              <a:defRPr lang="en-US" sz="600" smtClean="0"/>
            </a:lvl1pPr>
          </a:lstStyle>
          <a:p>
            <a:fld id="{FCEE2C88-6C8F-484D-AF69-578F576B1F44}" type="slidenum">
              <a:rPr lang="en-US" smtClean="0"/>
              <a:pPr/>
              <a:t>‹#›</a:t>
            </a:fld>
            <a:endParaRPr lang="en-US"/>
          </a:p>
        </p:txBody>
      </p:sp>
      <p:sp>
        <p:nvSpPr>
          <p:cNvPr id="4" name="TextBox 3"/>
          <p:cNvSpPr txBox="1"/>
          <p:nvPr userDrawn="1"/>
        </p:nvSpPr>
        <p:spPr>
          <a:xfrm>
            <a:off x="304800" y="4800737"/>
            <a:ext cx="592470" cy="138499"/>
          </a:xfrm>
          <a:prstGeom prst="rect">
            <a:avLst/>
          </a:prstGeom>
          <a:noFill/>
        </p:spPr>
        <p:txBody>
          <a:bodyPr wrap="none" lIns="0" bIns="0" rtlCol="0" anchor="b" anchorCtr="0">
            <a:spAutoFit/>
          </a:bodyPr>
          <a:lstStyle/>
          <a:p>
            <a:pPr defTabSz="685755"/>
            <a:r>
              <a:rPr lang="en-AU" sz="600" spc="75">
                <a:gradFill>
                  <a:gsLst>
                    <a:gs pos="7258">
                      <a:schemeClr val="accent2"/>
                    </a:gs>
                    <a:gs pos="19000">
                      <a:schemeClr val="accent2"/>
                    </a:gs>
                  </a:gsLst>
                  <a:lin ang="5400000" scaled="1"/>
                </a:gradFill>
                <a:latin typeface="Arial" panose="020B0604020202020204" pitchFamily="34" charset="0"/>
                <a:ea typeface="Roboto Light" panose="02000000000000000000" pitchFamily="2" charset="0"/>
                <a:cs typeface="Arial" panose="020B0604020202020204" pitchFamily="34" charset="0"/>
              </a:rPr>
              <a:t>slalom.com</a:t>
            </a:r>
          </a:p>
        </p:txBody>
      </p:sp>
    </p:spTree>
    <p:extLst>
      <p:ext uri="{BB962C8B-B14F-4D97-AF65-F5344CB8AC3E}">
        <p14:creationId xmlns:p14="http://schemas.microsoft.com/office/powerpoint/2010/main" val="18011360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ory with quote">
    <p:bg>
      <p:bgPr>
        <a:solidFill>
          <a:srgbClr val="FFFFFF"/>
        </a:solidFill>
        <a:effectLst/>
      </p:bgPr>
    </p:bg>
    <p:spTree>
      <p:nvGrpSpPr>
        <p:cNvPr id="1" name=""/>
        <p:cNvGrpSpPr/>
        <p:nvPr/>
      </p:nvGrpSpPr>
      <p:grpSpPr>
        <a:xfrm>
          <a:off x="0" y="0"/>
          <a:ext cx="0" cy="0"/>
          <a:chOff x="0" y="0"/>
          <a:chExt cx="0" cy="0"/>
        </a:xfrm>
      </p:grpSpPr>
      <p:sp>
        <p:nvSpPr>
          <p:cNvPr id="22" name="Rectangle 21"/>
          <p:cNvSpPr/>
          <p:nvPr userDrawn="1"/>
        </p:nvSpPr>
        <p:spPr>
          <a:xfrm>
            <a:off x="6399211" y="0"/>
            <a:ext cx="2777739"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tIns="548640" rIns="91440" bIns="91440" rtlCol="0" anchor="t" anchorCtr="0"/>
          <a:lstStyle/>
          <a:p>
            <a:endParaRPr lang="en-US" sz="1200"/>
          </a:p>
        </p:txBody>
      </p:sp>
      <p:sp>
        <p:nvSpPr>
          <p:cNvPr id="10" name="Slide Number Placeholder 5"/>
          <p:cNvSpPr>
            <a:spLocks noGrp="1"/>
          </p:cNvSpPr>
          <p:nvPr>
            <p:ph type="sldNum" sz="quarter" idx="12"/>
          </p:nvPr>
        </p:nvSpPr>
        <p:spPr>
          <a:xfrm>
            <a:off x="8533336" y="4845467"/>
            <a:ext cx="323309" cy="199474"/>
          </a:xfrm>
          <a:prstGeom prst="rect">
            <a:avLst/>
          </a:prstGeom>
        </p:spPr>
        <p:txBody>
          <a:bodyPr lIns="0" tIns="0" rIns="0" bIns="0"/>
          <a:lstStyle>
            <a:lvl1pPr algn="r">
              <a:defRPr sz="600">
                <a:gradFill>
                  <a:gsLst>
                    <a:gs pos="7258">
                      <a:schemeClr val="accent2"/>
                    </a:gs>
                    <a:gs pos="19000">
                      <a:schemeClr val="accent2"/>
                    </a:gs>
                  </a:gsLst>
                  <a:lin ang="5400000" scaled="1"/>
                </a:gradFill>
                <a:latin typeface="Arial" panose="020B0604020202020204" pitchFamily="34" charset="0"/>
                <a:ea typeface="Roboto Light" panose="02000000000000000000" pitchFamily="2" charset="0"/>
                <a:cs typeface="Arial" panose="020B0604020202020204" pitchFamily="34" charset="0"/>
              </a:defRPr>
            </a:lvl1pPr>
          </a:lstStyle>
          <a:p>
            <a:fld id="{FCEE2C88-6C8F-484D-AF69-578F576B1F44}" type="slidenum">
              <a:rPr lang="en-US" smtClean="0"/>
              <a:pPr/>
              <a:t>‹#›</a:t>
            </a:fld>
            <a:endParaRPr lang="en-US"/>
          </a:p>
        </p:txBody>
      </p:sp>
      <p:sp>
        <p:nvSpPr>
          <p:cNvPr id="4" name="Text Placeholder 3"/>
          <p:cNvSpPr>
            <a:spLocks noGrp="1"/>
          </p:cNvSpPr>
          <p:nvPr>
            <p:ph type="body" sz="quarter" idx="26" hasCustomPrompt="1"/>
          </p:nvPr>
        </p:nvSpPr>
        <p:spPr>
          <a:xfrm>
            <a:off x="6781800" y="4598384"/>
            <a:ext cx="1978025" cy="193899"/>
          </a:xfrm>
        </p:spPr>
        <p:txBody>
          <a:bodyPr/>
          <a:lstStyle>
            <a:lvl1pPr marL="0" indent="0" algn="r" defTabSz="914400" rtl="0" eaLnBrk="1" latinLnBrk="0" hangingPunct="1">
              <a:buNone/>
              <a:defRPr lang="en-US" sz="1100" kern="1200" baseline="30000" dirty="0" smtClean="0">
                <a:solidFill>
                  <a:schemeClr val="accent1">
                    <a:lumMod val="60000"/>
                    <a:lumOff val="40000"/>
                  </a:schemeClr>
                </a:solidFill>
                <a:latin typeface="+mn-lt"/>
                <a:ea typeface="+mn-ea"/>
                <a:cs typeface="+mn-cs"/>
              </a:defRPr>
            </a:lvl1pPr>
            <a:lvl2pPr marL="0" algn="r" defTabSz="914400" rtl="0" eaLnBrk="1" latinLnBrk="0" hangingPunct="1">
              <a:defRPr lang="en-US" sz="1100" kern="1200" baseline="30000" dirty="0" smtClean="0">
                <a:solidFill>
                  <a:schemeClr val="accent1">
                    <a:lumMod val="60000"/>
                    <a:lumOff val="40000"/>
                  </a:schemeClr>
                </a:solidFill>
                <a:latin typeface="+mn-lt"/>
                <a:ea typeface="+mn-ea"/>
                <a:cs typeface="+mn-cs"/>
              </a:defRPr>
            </a:lvl2pPr>
            <a:lvl3pPr marL="0" algn="r" defTabSz="914400" rtl="0" eaLnBrk="1" latinLnBrk="0" hangingPunct="1">
              <a:defRPr lang="en-US" sz="1100" kern="1200" baseline="30000" dirty="0" smtClean="0">
                <a:solidFill>
                  <a:schemeClr val="accent1">
                    <a:lumMod val="60000"/>
                    <a:lumOff val="40000"/>
                  </a:schemeClr>
                </a:solidFill>
                <a:latin typeface="+mn-lt"/>
                <a:ea typeface="+mn-ea"/>
                <a:cs typeface="+mn-cs"/>
              </a:defRPr>
            </a:lvl3pPr>
            <a:lvl4pPr marL="0" algn="r" defTabSz="914400" rtl="0" eaLnBrk="1" latinLnBrk="0" hangingPunct="1">
              <a:defRPr lang="en-US" sz="1100" kern="1200" baseline="30000" dirty="0" smtClean="0">
                <a:solidFill>
                  <a:schemeClr val="accent1">
                    <a:lumMod val="60000"/>
                    <a:lumOff val="40000"/>
                  </a:schemeClr>
                </a:solidFill>
                <a:latin typeface="+mn-lt"/>
                <a:ea typeface="+mn-ea"/>
                <a:cs typeface="+mn-cs"/>
              </a:defRPr>
            </a:lvl4pPr>
            <a:lvl5pPr marL="0" algn="r" defTabSz="914400" rtl="0" eaLnBrk="1" latinLnBrk="0" hangingPunct="1">
              <a:defRPr lang="en-US" sz="1100" kern="1200" baseline="30000" dirty="0">
                <a:solidFill>
                  <a:schemeClr val="accent1">
                    <a:lumMod val="60000"/>
                    <a:lumOff val="40000"/>
                  </a:schemeClr>
                </a:solidFill>
                <a:latin typeface="+mn-lt"/>
                <a:ea typeface="+mn-ea"/>
                <a:cs typeface="+mn-cs"/>
              </a:defRPr>
            </a:lvl5pPr>
          </a:lstStyle>
          <a:p>
            <a:pPr lvl="0"/>
            <a:r>
              <a:rPr lang="en-US" dirty="0"/>
              <a:t>Enter name</a:t>
            </a:r>
          </a:p>
        </p:txBody>
      </p:sp>
      <p:sp>
        <p:nvSpPr>
          <p:cNvPr id="3" name="Picture Placeholder 2"/>
          <p:cNvSpPr>
            <a:spLocks noGrp="1"/>
          </p:cNvSpPr>
          <p:nvPr>
            <p:ph type="pic" sz="quarter" idx="17"/>
          </p:nvPr>
        </p:nvSpPr>
        <p:spPr>
          <a:xfrm>
            <a:off x="1" y="0"/>
            <a:ext cx="6399211" cy="2571750"/>
          </a:xfrm>
        </p:spPr>
        <p:txBody>
          <a:bodyPr/>
          <a:lstStyle/>
          <a:p>
            <a:endParaRPr lang="en-US" dirty="0"/>
          </a:p>
        </p:txBody>
      </p:sp>
      <p:sp>
        <p:nvSpPr>
          <p:cNvPr id="9" name="Text Placeholder 10"/>
          <p:cNvSpPr>
            <a:spLocks noGrp="1"/>
          </p:cNvSpPr>
          <p:nvPr>
            <p:ph type="body" sz="quarter" idx="15" hasCustomPrompt="1"/>
          </p:nvPr>
        </p:nvSpPr>
        <p:spPr>
          <a:xfrm>
            <a:off x="296737" y="3702768"/>
            <a:ext cx="2473324" cy="117055"/>
          </a:xfrm>
        </p:spPr>
        <p:txBody>
          <a:bodyPr vert="horz" wrap="square" lIns="0" tIns="0" rIns="0" bIns="0" rtlCol="0">
            <a:normAutofit/>
          </a:bodyPr>
          <a:lstStyle>
            <a:lvl1pPr marL="173038" indent="-173038">
              <a:buNone/>
              <a:defRPr lang="id-ID" sz="600" kern="0" spc="150" baseline="0" dirty="0">
                <a:solidFill>
                  <a:schemeClr val="accent1"/>
                </a:solidFill>
                <a:ea typeface="Roboto Light" panose="02000000000000000000" pitchFamily="2" charset="0"/>
              </a:defRPr>
            </a:lvl1pPr>
          </a:lstStyle>
          <a:p>
            <a:pPr marL="0" lvl="0" indent="0"/>
            <a:r>
              <a:rPr lang="en-US" dirty="0"/>
              <a:t>CLIENT</a:t>
            </a:r>
            <a:endParaRPr lang="id-ID" dirty="0"/>
          </a:p>
        </p:txBody>
      </p:sp>
      <p:sp>
        <p:nvSpPr>
          <p:cNvPr id="5" name="Text Placeholder 4"/>
          <p:cNvSpPr>
            <a:spLocks noGrp="1"/>
          </p:cNvSpPr>
          <p:nvPr>
            <p:ph type="body" sz="quarter" idx="16" hasCustomPrompt="1"/>
          </p:nvPr>
        </p:nvSpPr>
        <p:spPr>
          <a:xfrm>
            <a:off x="3032097" y="3850295"/>
            <a:ext cx="1489476" cy="748090"/>
          </a:xfrm>
        </p:spPr>
        <p:txBody>
          <a:bodyPr numCol="1" spcCol="182880">
            <a:noAutofit/>
          </a:bodyPr>
          <a:lstStyle>
            <a:lvl1pPr marL="0" indent="0" algn="l" defTabSz="914400" rtl="0" eaLnBrk="1" latinLnBrk="0" hangingPunct="1">
              <a:lnSpc>
                <a:spcPct val="100000"/>
              </a:lnSpc>
              <a:spcBef>
                <a:spcPts val="600"/>
              </a:spcBef>
              <a:buClr>
                <a:srgbClr val="0072C8"/>
              </a:buClr>
              <a:buSzPct val="110000"/>
              <a:buFont typeface="Wingdings" panose="05000000000000000000" pitchFamily="2" charset="2"/>
              <a:buNone/>
              <a:defRPr lang="en-US" sz="700" kern="1200" spc="40" baseline="0" dirty="0" smtClean="0">
                <a:solidFill>
                  <a:schemeClr val="accent6">
                    <a:lumMod val="75000"/>
                  </a:schemeClr>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r>
              <a:rPr lang="en-US" dirty="0"/>
              <a:t>Place text</a:t>
            </a:r>
          </a:p>
        </p:txBody>
      </p:sp>
      <p:sp>
        <p:nvSpPr>
          <p:cNvPr id="12" name="Text Placeholder 10"/>
          <p:cNvSpPr>
            <a:spLocks noGrp="1"/>
          </p:cNvSpPr>
          <p:nvPr>
            <p:ph type="body" sz="quarter" idx="18" hasCustomPrompt="1"/>
          </p:nvPr>
        </p:nvSpPr>
        <p:spPr>
          <a:xfrm>
            <a:off x="3032098" y="3702768"/>
            <a:ext cx="1489475" cy="117055"/>
          </a:xfrm>
        </p:spPr>
        <p:txBody>
          <a:bodyPr vert="horz" wrap="square" lIns="0" tIns="0" rIns="0" bIns="0" rtlCol="0">
            <a:normAutofit/>
          </a:bodyPr>
          <a:lstStyle>
            <a:lvl1pPr marL="173038" indent="-173038">
              <a:buNone/>
              <a:defRPr lang="id-ID" sz="600" kern="0" spc="150" baseline="0" dirty="0">
                <a:solidFill>
                  <a:schemeClr val="accent1"/>
                </a:solidFill>
                <a:ea typeface="Roboto Light" panose="02000000000000000000" pitchFamily="2" charset="0"/>
              </a:defRPr>
            </a:lvl1pPr>
          </a:lstStyle>
          <a:p>
            <a:pPr marL="0" lvl="0" indent="0"/>
            <a:r>
              <a:rPr lang="en-US" dirty="0"/>
              <a:t>SOLUTIONS</a:t>
            </a:r>
            <a:endParaRPr lang="id-ID" dirty="0"/>
          </a:p>
        </p:txBody>
      </p:sp>
      <p:sp>
        <p:nvSpPr>
          <p:cNvPr id="13" name="Text Placeholder 10"/>
          <p:cNvSpPr>
            <a:spLocks noGrp="1"/>
          </p:cNvSpPr>
          <p:nvPr>
            <p:ph type="body" sz="quarter" idx="19" hasCustomPrompt="1"/>
          </p:nvPr>
        </p:nvSpPr>
        <p:spPr>
          <a:xfrm>
            <a:off x="5350169" y="3702768"/>
            <a:ext cx="785520" cy="117055"/>
          </a:xfrm>
        </p:spPr>
        <p:txBody>
          <a:bodyPr vert="horz" wrap="square" lIns="0" tIns="0" rIns="0" bIns="0" rtlCol="0">
            <a:normAutofit/>
          </a:bodyPr>
          <a:lstStyle>
            <a:lvl1pPr marL="173038" indent="-173038">
              <a:buNone/>
              <a:defRPr lang="id-ID" sz="600" kern="0" spc="150" baseline="0" dirty="0">
                <a:solidFill>
                  <a:schemeClr val="accent1"/>
                </a:solidFill>
                <a:ea typeface="Roboto Light" panose="02000000000000000000" pitchFamily="2" charset="0"/>
              </a:defRPr>
            </a:lvl1pPr>
          </a:lstStyle>
          <a:p>
            <a:pPr marL="0" lvl="0" indent="0"/>
            <a:r>
              <a:rPr lang="en-US" dirty="0"/>
              <a:t>INDUSTRY</a:t>
            </a:r>
            <a:endParaRPr lang="id-ID" dirty="0"/>
          </a:p>
        </p:txBody>
      </p:sp>
      <p:sp>
        <p:nvSpPr>
          <p:cNvPr id="14" name="Text Placeholder 6"/>
          <p:cNvSpPr>
            <a:spLocks noGrp="1"/>
          </p:cNvSpPr>
          <p:nvPr>
            <p:ph type="body" sz="quarter" idx="21" hasCustomPrompt="1"/>
          </p:nvPr>
        </p:nvSpPr>
        <p:spPr>
          <a:xfrm>
            <a:off x="296864" y="2692400"/>
            <a:ext cx="5838825" cy="835660"/>
          </a:xfrm>
        </p:spPr>
        <p:txBody>
          <a:bodyPr tIns="0" bIns="0">
            <a:noAutofit/>
          </a:bodyPr>
          <a:lstStyle>
            <a:lvl1pPr marL="0" indent="0">
              <a:lnSpc>
                <a:spcPct val="120000"/>
              </a:lnSpc>
              <a:spcBef>
                <a:spcPts val="0"/>
              </a:spcBef>
              <a:buNone/>
              <a:defRPr sz="1100" baseline="0">
                <a:solidFill>
                  <a:schemeClr val="accent6">
                    <a:lumMod val="75000"/>
                  </a:schemeClr>
                </a:solidFill>
              </a:defRPr>
            </a:lvl1pPr>
            <a:lvl2pPr marL="173037" indent="0">
              <a:buNone/>
              <a:defRPr>
                <a:solidFill>
                  <a:schemeClr val="accent6"/>
                </a:solidFill>
              </a:defRPr>
            </a:lvl2pPr>
            <a:lvl3pPr marL="323850" indent="0">
              <a:buNone/>
              <a:defRPr>
                <a:solidFill>
                  <a:schemeClr val="accent6"/>
                </a:solidFill>
              </a:defRPr>
            </a:lvl3pPr>
            <a:lvl4pPr marL="457200" indent="0">
              <a:buNone/>
              <a:defRPr>
                <a:solidFill>
                  <a:schemeClr val="accent6"/>
                </a:solidFill>
              </a:defRPr>
            </a:lvl4pPr>
            <a:lvl5pPr marL="593725" indent="0">
              <a:buNone/>
              <a:defRPr>
                <a:solidFill>
                  <a:schemeClr val="accent6"/>
                </a:solidFill>
              </a:defRPr>
            </a:lvl5pPr>
          </a:lstStyle>
          <a:p>
            <a:pPr lvl="0"/>
            <a:r>
              <a:rPr lang="en-US" dirty="0"/>
              <a:t>Enter text here</a:t>
            </a:r>
          </a:p>
        </p:txBody>
      </p:sp>
      <p:sp>
        <p:nvSpPr>
          <p:cNvPr id="16" name="Text Placeholder 4"/>
          <p:cNvSpPr>
            <a:spLocks noGrp="1"/>
          </p:cNvSpPr>
          <p:nvPr>
            <p:ph type="body" sz="quarter" idx="22" hasCustomPrompt="1"/>
          </p:nvPr>
        </p:nvSpPr>
        <p:spPr>
          <a:xfrm>
            <a:off x="5350169" y="3850295"/>
            <a:ext cx="785520" cy="196208"/>
          </a:xfrm>
        </p:spPr>
        <p:txBody>
          <a:bodyPr>
            <a:noAutofit/>
          </a:bodyPr>
          <a:lstStyle>
            <a:lvl1pPr marL="0" indent="0">
              <a:lnSpc>
                <a:spcPct val="100000"/>
              </a:lnSpc>
              <a:buNone/>
              <a:defRPr lang="en-US" sz="700" kern="1200" spc="40" baseline="0" dirty="0" smtClean="0">
                <a:solidFill>
                  <a:schemeClr val="accent6">
                    <a:lumMod val="75000"/>
                  </a:schemeClr>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dirty="0"/>
              <a:t>Place text</a:t>
            </a:r>
          </a:p>
        </p:txBody>
      </p:sp>
      <p:sp>
        <p:nvSpPr>
          <p:cNvPr id="17" name="Text Placeholder 10"/>
          <p:cNvSpPr>
            <a:spLocks noGrp="1"/>
          </p:cNvSpPr>
          <p:nvPr>
            <p:ph type="body" sz="quarter" idx="23" hasCustomPrompt="1"/>
          </p:nvPr>
        </p:nvSpPr>
        <p:spPr>
          <a:xfrm>
            <a:off x="5350169" y="4254649"/>
            <a:ext cx="785520" cy="117055"/>
          </a:xfrm>
        </p:spPr>
        <p:txBody>
          <a:bodyPr vert="horz" wrap="square" lIns="0" tIns="0" rIns="0" bIns="0" rtlCol="0">
            <a:normAutofit/>
          </a:bodyPr>
          <a:lstStyle>
            <a:lvl1pPr marL="173038" indent="-173038">
              <a:buNone/>
              <a:defRPr lang="id-ID" sz="600" kern="0" spc="150" baseline="0" dirty="0">
                <a:solidFill>
                  <a:schemeClr val="accent1"/>
                </a:solidFill>
                <a:ea typeface="Roboto Light" panose="02000000000000000000" pitchFamily="2" charset="0"/>
              </a:defRPr>
            </a:lvl1pPr>
          </a:lstStyle>
          <a:p>
            <a:pPr marL="0" lvl="0" indent="0"/>
            <a:r>
              <a:rPr lang="en-US" dirty="0"/>
              <a:t>ALLIANCES</a:t>
            </a:r>
            <a:endParaRPr lang="id-ID" dirty="0"/>
          </a:p>
        </p:txBody>
      </p:sp>
      <p:sp>
        <p:nvSpPr>
          <p:cNvPr id="18" name="Text Placeholder 4"/>
          <p:cNvSpPr>
            <a:spLocks noGrp="1"/>
          </p:cNvSpPr>
          <p:nvPr>
            <p:ph type="body" sz="quarter" idx="24" hasCustomPrompt="1"/>
          </p:nvPr>
        </p:nvSpPr>
        <p:spPr>
          <a:xfrm>
            <a:off x="5350169" y="4402176"/>
            <a:ext cx="785520" cy="196208"/>
          </a:xfrm>
        </p:spPr>
        <p:txBody>
          <a:bodyPr>
            <a:noAutofit/>
          </a:bodyPr>
          <a:lstStyle>
            <a:lvl1pPr marL="0" indent="0">
              <a:lnSpc>
                <a:spcPct val="100000"/>
              </a:lnSpc>
              <a:buNone/>
              <a:defRPr lang="en-US" sz="700" kern="1200" spc="40" baseline="0" dirty="0" smtClean="0">
                <a:solidFill>
                  <a:schemeClr val="accent6">
                    <a:lumMod val="75000"/>
                  </a:schemeClr>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dirty="0"/>
              <a:t>Place text</a:t>
            </a:r>
          </a:p>
        </p:txBody>
      </p:sp>
      <p:sp>
        <p:nvSpPr>
          <p:cNvPr id="19" name="Text Placeholder 4"/>
          <p:cNvSpPr>
            <a:spLocks noGrp="1"/>
          </p:cNvSpPr>
          <p:nvPr>
            <p:ph type="body" sz="quarter" idx="25"/>
          </p:nvPr>
        </p:nvSpPr>
        <p:spPr>
          <a:xfrm>
            <a:off x="296737" y="3850295"/>
            <a:ext cx="2473324" cy="616091"/>
          </a:xfrm>
        </p:spPr>
        <p:txBody>
          <a:bodyPr>
            <a:noAutofit/>
          </a:bodyPr>
          <a:lstStyle>
            <a:lvl1pPr marL="0" indent="0">
              <a:lnSpc>
                <a:spcPct val="120000"/>
              </a:lnSpc>
              <a:buNone/>
              <a:defRPr lang="en-US" sz="700" kern="1200" spc="40" baseline="0" dirty="0" smtClean="0">
                <a:solidFill>
                  <a:schemeClr val="accent6">
                    <a:lumMod val="75000"/>
                  </a:schemeClr>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dirty="0"/>
              <a:t>Click to edit Master text styles</a:t>
            </a:r>
          </a:p>
        </p:txBody>
      </p:sp>
      <p:cxnSp>
        <p:nvCxnSpPr>
          <p:cNvPr id="15" name="Straight Connector 14"/>
          <p:cNvCxnSpPr/>
          <p:nvPr userDrawn="1"/>
        </p:nvCxnSpPr>
        <p:spPr>
          <a:xfrm>
            <a:off x="2944819" y="3696044"/>
            <a:ext cx="0" cy="1040683"/>
          </a:xfrm>
          <a:prstGeom prst="line">
            <a:avLst/>
          </a:prstGeom>
          <a:ln w="3175">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5271564" y="3696044"/>
            <a:ext cx="0" cy="1040683"/>
          </a:xfrm>
          <a:prstGeom prst="line">
            <a:avLst/>
          </a:prstGeom>
          <a:ln w="3175">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21" name="Rectangle 20"/>
          <p:cNvSpPr/>
          <p:nvPr userDrawn="1"/>
        </p:nvSpPr>
        <p:spPr>
          <a:xfrm>
            <a:off x="6546307" y="4466385"/>
            <a:ext cx="2212725" cy="205184"/>
          </a:xfrm>
          <a:prstGeom prst="rect">
            <a:avLst/>
          </a:prstGeom>
        </p:spPr>
        <p:txBody>
          <a:bodyPr wrap="square" rIns="0">
            <a:spAutoFit/>
          </a:bodyPr>
          <a:lstStyle/>
          <a:p>
            <a:pPr algn="r"/>
            <a:r>
              <a:rPr lang="en-US" sz="1100" baseline="30000">
                <a:solidFill>
                  <a:schemeClr val="accent1">
                    <a:lumMod val="60000"/>
                    <a:lumOff val="40000"/>
                  </a:schemeClr>
                </a:solidFill>
              </a:rPr>
              <a:t>Story contact</a:t>
            </a:r>
          </a:p>
        </p:txBody>
      </p:sp>
      <p:sp>
        <p:nvSpPr>
          <p:cNvPr id="29" name="Text Placeholder 31"/>
          <p:cNvSpPr>
            <a:spLocks noGrp="1"/>
          </p:cNvSpPr>
          <p:nvPr>
            <p:ph type="body" sz="quarter" idx="33" hasCustomPrompt="1"/>
          </p:nvPr>
        </p:nvSpPr>
        <p:spPr>
          <a:xfrm>
            <a:off x="6681069" y="737583"/>
            <a:ext cx="2046287" cy="937050"/>
          </a:xfrm>
        </p:spPr>
        <p:txBody>
          <a:bodyPr>
            <a:noAutofit/>
          </a:bodyPr>
          <a:lstStyle>
            <a:lvl1pPr marL="0" indent="0">
              <a:buNone/>
              <a:defRPr lang="en-US" sz="2000" kern="1200" baseline="30000" dirty="0">
                <a:solidFill>
                  <a:schemeClr val="lt1"/>
                </a:solidFill>
                <a:latin typeface="+mn-lt"/>
                <a:ea typeface="+mn-ea"/>
                <a:cs typeface="+mn-cs"/>
              </a:defRPr>
            </a:lvl1pPr>
          </a:lstStyle>
          <a:p>
            <a:pPr lvl="0"/>
            <a:r>
              <a:rPr lang="en-US" dirty="0"/>
              <a:t>Enter quote here. Lorem ipsum dolor sit </a:t>
            </a:r>
            <a:r>
              <a:rPr lang="en-US" dirty="0" err="1"/>
              <a:t>amet</a:t>
            </a:r>
            <a:r>
              <a:rPr lang="en-US" dirty="0"/>
              <a:t>. Lorem ipsum dolor sit </a:t>
            </a:r>
            <a:r>
              <a:rPr lang="en-US" dirty="0" err="1"/>
              <a:t>amet</a:t>
            </a:r>
            <a:r>
              <a:rPr lang="en-US" dirty="0"/>
              <a:t>. Lorem ipsum.</a:t>
            </a:r>
          </a:p>
        </p:txBody>
      </p:sp>
      <p:sp>
        <p:nvSpPr>
          <p:cNvPr id="32" name="Text Placeholder 31"/>
          <p:cNvSpPr>
            <a:spLocks noGrp="1"/>
          </p:cNvSpPr>
          <p:nvPr>
            <p:ph type="body" sz="quarter" idx="35" hasCustomPrompt="1"/>
          </p:nvPr>
        </p:nvSpPr>
        <p:spPr>
          <a:xfrm>
            <a:off x="6681069" y="1799991"/>
            <a:ext cx="2046287" cy="937050"/>
          </a:xfrm>
        </p:spPr>
        <p:txBody>
          <a:bodyPr>
            <a:noAutofit/>
          </a:bodyPr>
          <a:lstStyle>
            <a:lvl1pPr marL="0" indent="0">
              <a:spcBef>
                <a:spcPts val="0"/>
              </a:spcBef>
              <a:buNone/>
              <a:defRPr lang="en-US" sz="1400" kern="1200" baseline="30000" dirty="0">
                <a:solidFill>
                  <a:schemeClr val="accent1">
                    <a:lumMod val="60000"/>
                    <a:lumOff val="40000"/>
                  </a:schemeClr>
                </a:solidFill>
                <a:latin typeface="+mn-lt"/>
                <a:ea typeface="+mn-ea"/>
                <a:cs typeface="+mn-cs"/>
              </a:defRPr>
            </a:lvl1pPr>
          </a:lstStyle>
          <a:p>
            <a:pPr lvl="0"/>
            <a:r>
              <a:rPr lang="en-US" dirty="0"/>
              <a:t>Name</a:t>
            </a:r>
          </a:p>
          <a:p>
            <a:pPr lvl="0"/>
            <a:r>
              <a:rPr lang="en-US" dirty="0"/>
              <a:t>Title</a:t>
            </a:r>
          </a:p>
          <a:p>
            <a:pPr lvl="0"/>
            <a:r>
              <a:rPr lang="en-US" dirty="0"/>
              <a:t>Company</a:t>
            </a:r>
          </a:p>
        </p:txBody>
      </p:sp>
      <p:sp>
        <p:nvSpPr>
          <p:cNvPr id="23" name="TextBox 22"/>
          <p:cNvSpPr txBox="1"/>
          <p:nvPr userDrawn="1"/>
        </p:nvSpPr>
        <p:spPr>
          <a:xfrm>
            <a:off x="287740" y="4851763"/>
            <a:ext cx="3319060" cy="123111"/>
          </a:xfrm>
          <a:prstGeom prst="rect">
            <a:avLst/>
          </a:prstGeom>
          <a:solidFill>
            <a:schemeClr val="bg1"/>
          </a:solidFill>
        </p:spPr>
        <p:txBody>
          <a:bodyPr wrap="square" lIns="0" bIns="0" rtlCol="0" anchor="b" anchorCtr="0">
            <a:spAutoFit/>
          </a:bodyPr>
          <a:lstStyle/>
          <a:p>
            <a:pPr rtl="0"/>
            <a:r>
              <a:rPr lang="en-US" sz="750" b="0" i="0" u="none" strike="noStrike" kern="1200" baseline="30000" dirty="0">
                <a:solidFill>
                  <a:schemeClr val="bg1">
                    <a:lumMod val="65000"/>
                  </a:schemeClr>
                </a:solidFill>
                <a:latin typeface="+mn-lt"/>
                <a:ea typeface="+mn-ea"/>
                <a:cs typeface="+mn-cs"/>
              </a:rPr>
              <a:t>CONFIDENTIAL AND PROPRIETARY FOR INTERNAL USE ONLY </a:t>
            </a:r>
          </a:p>
        </p:txBody>
      </p:sp>
    </p:spTree>
    <p:extLst>
      <p:ext uri="{BB962C8B-B14F-4D97-AF65-F5344CB8AC3E}">
        <p14:creationId xmlns:p14="http://schemas.microsoft.com/office/powerpoint/2010/main" val="1189363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roject Snapshot">
    <p:bg>
      <p:bgPr>
        <a:solidFill>
          <a:srgbClr val="FFFFFF"/>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3" hasCustomPrompt="1"/>
          </p:nvPr>
        </p:nvSpPr>
        <p:spPr>
          <a:xfrm>
            <a:off x="0" y="0"/>
            <a:ext cx="9144000" cy="2489200"/>
          </a:xfrm>
          <a:solidFill>
            <a:schemeClr val="accent6"/>
          </a:solidFill>
        </p:spPr>
        <p:txBody>
          <a:bodyPr tIns="1097280" anchor="ctr"/>
          <a:lstStyle>
            <a:lvl1pPr marL="0" indent="0" algn="ctr">
              <a:buNone/>
              <a:defRPr sz="900" b="1" baseline="0">
                <a:solidFill>
                  <a:schemeClr val="bg1"/>
                </a:solidFill>
              </a:defRPr>
            </a:lvl1pPr>
          </a:lstStyle>
          <a:p>
            <a:r>
              <a:rPr lang="en-US" dirty="0"/>
              <a:t>Click icon to update photo</a:t>
            </a:r>
          </a:p>
        </p:txBody>
      </p:sp>
      <p:sp>
        <p:nvSpPr>
          <p:cNvPr id="2" name="Slide Number Placeholder 5"/>
          <p:cNvSpPr>
            <a:spLocks noGrp="1"/>
          </p:cNvSpPr>
          <p:nvPr>
            <p:ph type="sldNum" sz="quarter" idx="12"/>
          </p:nvPr>
        </p:nvSpPr>
        <p:spPr>
          <a:xfrm>
            <a:off x="8533335" y="4838589"/>
            <a:ext cx="323309" cy="201168"/>
          </a:xfrm>
          <a:prstGeom prst="rect">
            <a:avLst/>
          </a:prstGeom>
        </p:spPr>
        <p:txBody>
          <a:bodyPr lIns="0" tIns="0" rIns="0" bIns="0"/>
          <a:lstStyle>
            <a:lvl1pPr algn="r">
              <a:defRPr lang="en-US" sz="600" smtClean="0"/>
            </a:lvl1pPr>
          </a:lstStyle>
          <a:p>
            <a:fld id="{7DA0DAFF-DD53-4E09-94A3-3FB757666A6B}" type="slidenum">
              <a:rPr lang="en-US" smtClean="0"/>
              <a:pPr/>
              <a:t>‹#›</a:t>
            </a:fld>
            <a:endParaRPr lang="en-US"/>
          </a:p>
        </p:txBody>
      </p:sp>
      <p:sp>
        <p:nvSpPr>
          <p:cNvPr id="4" name="TextBox 3"/>
          <p:cNvSpPr txBox="1"/>
          <p:nvPr userDrawn="1"/>
        </p:nvSpPr>
        <p:spPr>
          <a:xfrm>
            <a:off x="304800" y="4800737"/>
            <a:ext cx="592470" cy="138499"/>
          </a:xfrm>
          <a:prstGeom prst="rect">
            <a:avLst/>
          </a:prstGeom>
          <a:noFill/>
        </p:spPr>
        <p:txBody>
          <a:bodyPr wrap="none" lIns="0" bIns="0" rtlCol="0" anchor="b" anchorCtr="0">
            <a:spAutoFit/>
          </a:bodyPr>
          <a:lstStyle/>
          <a:p>
            <a:pPr defTabSz="685755"/>
            <a:r>
              <a:rPr lang="en-AU" sz="600" spc="75">
                <a:gradFill>
                  <a:gsLst>
                    <a:gs pos="7258">
                      <a:schemeClr val="accent2"/>
                    </a:gs>
                    <a:gs pos="19000">
                      <a:schemeClr val="accent2"/>
                    </a:gs>
                  </a:gsLst>
                  <a:lin ang="5400000" scaled="1"/>
                </a:gradFill>
                <a:latin typeface="Arial" panose="020B0604020202020204" pitchFamily="34" charset="0"/>
                <a:ea typeface="Roboto Light" panose="02000000000000000000" pitchFamily="2" charset="0"/>
                <a:cs typeface="Arial" panose="020B0604020202020204" pitchFamily="34" charset="0"/>
              </a:rPr>
              <a:t>slalom.com</a:t>
            </a:r>
          </a:p>
        </p:txBody>
      </p:sp>
    </p:spTree>
    <p:extLst>
      <p:ext uri="{BB962C8B-B14F-4D97-AF65-F5344CB8AC3E}">
        <p14:creationId xmlns:p14="http://schemas.microsoft.com/office/powerpoint/2010/main" val="39282642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entered Title Only ">
    <p:bg>
      <p:bgPr>
        <a:solidFill>
          <a:srgbClr val="FFFFFF"/>
        </a:solidFill>
        <a:effectLst/>
      </p:bgPr>
    </p:bg>
    <p:spTree>
      <p:nvGrpSpPr>
        <p:cNvPr id="1" name=""/>
        <p:cNvGrpSpPr/>
        <p:nvPr/>
      </p:nvGrpSpPr>
      <p:grpSpPr>
        <a:xfrm>
          <a:off x="0" y="0"/>
          <a:ext cx="0" cy="0"/>
          <a:chOff x="0" y="0"/>
          <a:chExt cx="0" cy="0"/>
        </a:xfrm>
      </p:grpSpPr>
      <p:sp>
        <p:nvSpPr>
          <p:cNvPr id="8" name="Text Placeholder 10"/>
          <p:cNvSpPr>
            <a:spLocks noGrp="1"/>
          </p:cNvSpPr>
          <p:nvPr>
            <p:ph type="body" sz="quarter" idx="14" hasCustomPrompt="1"/>
          </p:nvPr>
        </p:nvSpPr>
        <p:spPr>
          <a:xfrm>
            <a:off x="390524" y="474587"/>
            <a:ext cx="8369301" cy="455947"/>
          </a:xfrm>
        </p:spPr>
        <p:txBody>
          <a:bodyPr vert="horz" wrap="square" lIns="0" tIns="0" rIns="0" bIns="0" rtlCol="0">
            <a:noAutofit/>
          </a:bodyPr>
          <a:lstStyle>
            <a:lvl1pPr marL="285750" indent="-285750" algn="ctr">
              <a:buFont typeface="Arial" panose="020B0604020202020204" pitchFamily="34" charset="0"/>
              <a:buNone/>
              <a:defRPr lang="id-ID" sz="2400" b="0" kern="0" spc="-70" baseline="0" dirty="0">
                <a:gradFill>
                  <a:gsLst>
                    <a:gs pos="2419">
                      <a:schemeClr val="accent2"/>
                    </a:gs>
                    <a:gs pos="7000">
                      <a:schemeClr val="accent2"/>
                    </a:gs>
                  </a:gsLst>
                  <a:lin ang="5400000" scaled="1"/>
                </a:gradFill>
                <a:ea typeface="Roboto Medium" panose="02000000000000000000" pitchFamily="2" charset="0"/>
              </a:defRPr>
            </a:lvl1pPr>
          </a:lstStyle>
          <a:p>
            <a:pPr marL="0" lvl="0" indent="0"/>
            <a:r>
              <a:rPr lang="en-US" dirty="0"/>
              <a:t>Insert Slide Title Here</a:t>
            </a:r>
          </a:p>
        </p:txBody>
      </p:sp>
      <p:sp>
        <p:nvSpPr>
          <p:cNvPr id="10" name="Slide Number Placeholder 5"/>
          <p:cNvSpPr>
            <a:spLocks noGrp="1"/>
          </p:cNvSpPr>
          <p:nvPr>
            <p:ph type="sldNum" sz="quarter" idx="12"/>
          </p:nvPr>
        </p:nvSpPr>
        <p:spPr>
          <a:xfrm>
            <a:off x="8533335" y="4845467"/>
            <a:ext cx="323309" cy="199474"/>
          </a:xfrm>
          <a:prstGeom prst="rect">
            <a:avLst/>
          </a:prstGeom>
        </p:spPr>
        <p:txBody>
          <a:bodyPr lIns="0" tIns="0" rIns="0" bIns="0"/>
          <a:lstStyle>
            <a:lvl1pPr algn="r">
              <a:defRPr sz="600">
                <a:gradFill>
                  <a:gsLst>
                    <a:gs pos="7258">
                      <a:schemeClr val="accent2"/>
                    </a:gs>
                    <a:gs pos="19000">
                      <a:schemeClr val="accent2"/>
                    </a:gs>
                  </a:gsLst>
                  <a:lin ang="5400000" scaled="1"/>
                </a:gradFill>
                <a:latin typeface="Arial" panose="020B0604020202020204" pitchFamily="34" charset="0"/>
                <a:ea typeface="Roboto Light" panose="02000000000000000000" pitchFamily="2" charset="0"/>
                <a:cs typeface="Arial" panose="020B0604020202020204" pitchFamily="34" charset="0"/>
              </a:defRPr>
            </a:lvl1pPr>
          </a:lstStyle>
          <a:p>
            <a:fld id="{FCEE2C88-6C8F-484D-AF69-578F576B1F44}" type="slidenum">
              <a:rPr lang="en-US" smtClean="0"/>
              <a:pPr/>
              <a:t>‹#›</a:t>
            </a:fld>
            <a:endParaRPr lang="en-US"/>
          </a:p>
        </p:txBody>
      </p:sp>
      <p:sp>
        <p:nvSpPr>
          <p:cNvPr id="4" name="TextBox 3"/>
          <p:cNvSpPr txBox="1"/>
          <p:nvPr userDrawn="1"/>
        </p:nvSpPr>
        <p:spPr>
          <a:xfrm>
            <a:off x="304800" y="4800737"/>
            <a:ext cx="592470" cy="138499"/>
          </a:xfrm>
          <a:prstGeom prst="rect">
            <a:avLst/>
          </a:prstGeom>
          <a:noFill/>
        </p:spPr>
        <p:txBody>
          <a:bodyPr wrap="none" lIns="0" bIns="0" rtlCol="0" anchor="b" anchorCtr="0">
            <a:spAutoFit/>
          </a:bodyPr>
          <a:lstStyle/>
          <a:p>
            <a:pPr defTabSz="685755"/>
            <a:r>
              <a:rPr lang="en-AU" sz="600" spc="75">
                <a:gradFill>
                  <a:gsLst>
                    <a:gs pos="7258">
                      <a:schemeClr val="accent2"/>
                    </a:gs>
                    <a:gs pos="19000">
                      <a:schemeClr val="accent2"/>
                    </a:gs>
                  </a:gsLst>
                  <a:lin ang="5400000" scaled="1"/>
                </a:gradFill>
                <a:latin typeface="Arial" panose="020B0604020202020204" pitchFamily="34" charset="0"/>
                <a:ea typeface="Roboto Light" panose="02000000000000000000" pitchFamily="2" charset="0"/>
                <a:cs typeface="Arial" panose="020B0604020202020204" pitchFamily="34" charset="0"/>
              </a:rPr>
              <a:t>slalom.com</a:t>
            </a:r>
          </a:p>
        </p:txBody>
      </p:sp>
    </p:spTree>
    <p:extLst>
      <p:ext uri="{BB962C8B-B14F-4D97-AF65-F5344CB8AC3E}">
        <p14:creationId xmlns:p14="http://schemas.microsoft.com/office/powerpoint/2010/main" val="403304237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entered Title Only ">
    <p:bg>
      <p:bgPr>
        <a:solidFill>
          <a:srgbClr val="FFFFFF"/>
        </a:solidFill>
        <a:effectLst/>
      </p:bgPr>
    </p:bg>
    <p:spTree>
      <p:nvGrpSpPr>
        <p:cNvPr id="1" name=""/>
        <p:cNvGrpSpPr/>
        <p:nvPr/>
      </p:nvGrpSpPr>
      <p:grpSpPr>
        <a:xfrm>
          <a:off x="0" y="0"/>
          <a:ext cx="0" cy="0"/>
          <a:chOff x="0" y="0"/>
          <a:chExt cx="0" cy="0"/>
        </a:xfrm>
      </p:grpSpPr>
      <p:sp>
        <p:nvSpPr>
          <p:cNvPr id="8" name="Text Placeholder 10"/>
          <p:cNvSpPr>
            <a:spLocks noGrp="1"/>
          </p:cNvSpPr>
          <p:nvPr>
            <p:ph type="body" sz="quarter" idx="14" hasCustomPrompt="1"/>
          </p:nvPr>
        </p:nvSpPr>
        <p:spPr>
          <a:xfrm>
            <a:off x="390524" y="474587"/>
            <a:ext cx="8369301" cy="455947"/>
          </a:xfrm>
        </p:spPr>
        <p:txBody>
          <a:bodyPr vert="horz" wrap="square" lIns="0" tIns="0" rIns="0" bIns="0" rtlCol="0">
            <a:noAutofit/>
          </a:bodyPr>
          <a:lstStyle>
            <a:lvl1pPr marL="285750" indent="-285750" algn="ctr">
              <a:buFont typeface="Arial" panose="020B0604020202020204" pitchFamily="34" charset="0"/>
              <a:buNone/>
              <a:defRPr lang="en-US" sz="2400" b="0" kern="0" spc="-70" baseline="0" dirty="0">
                <a:gradFill>
                  <a:gsLst>
                    <a:gs pos="2419">
                      <a:schemeClr val="accent2"/>
                    </a:gs>
                    <a:gs pos="7000">
                      <a:schemeClr val="accent2"/>
                    </a:gs>
                  </a:gsLst>
                  <a:lin ang="5400000" scaled="1"/>
                </a:gradFill>
                <a:latin typeface="Arial" panose="020B0604020202020204" pitchFamily="34" charset="0"/>
                <a:ea typeface="Roboto Medium" panose="02000000000000000000" pitchFamily="2" charset="0"/>
                <a:cs typeface="Arial" panose="020B0604020202020204" pitchFamily="34" charset="0"/>
              </a:defRPr>
            </a:lvl1pPr>
          </a:lstStyle>
          <a:p>
            <a:pPr marL="0" lvl="0" indent="0" algn="ctr" defTabSz="914400" rtl="0" eaLnBrk="1" latinLnBrk="0" hangingPunct="1">
              <a:lnSpc>
                <a:spcPct val="90000"/>
              </a:lnSpc>
              <a:spcBef>
                <a:spcPts val="1200"/>
              </a:spcBef>
              <a:buClr>
                <a:srgbClr val="0072C8"/>
              </a:buClr>
              <a:buSzPct val="110000"/>
              <a:buFont typeface="Arial" panose="020B0604020202020204" pitchFamily="34" charset="0"/>
              <a:buNone/>
            </a:pPr>
            <a:r>
              <a:rPr lang="en-US" dirty="0"/>
              <a:t>Insert Slide Title Here</a:t>
            </a:r>
          </a:p>
        </p:txBody>
      </p:sp>
      <p:sp>
        <p:nvSpPr>
          <p:cNvPr id="10" name="Slide Number Placeholder 5"/>
          <p:cNvSpPr>
            <a:spLocks noGrp="1"/>
          </p:cNvSpPr>
          <p:nvPr>
            <p:ph type="sldNum" sz="quarter" idx="12"/>
          </p:nvPr>
        </p:nvSpPr>
        <p:spPr>
          <a:xfrm>
            <a:off x="8533335" y="4845467"/>
            <a:ext cx="323309" cy="199474"/>
          </a:xfrm>
          <a:prstGeom prst="rect">
            <a:avLst/>
          </a:prstGeom>
        </p:spPr>
        <p:txBody>
          <a:bodyPr lIns="0" tIns="0" rIns="0" bIns="0"/>
          <a:lstStyle>
            <a:lvl1pPr algn="r">
              <a:defRPr sz="600">
                <a:gradFill>
                  <a:gsLst>
                    <a:gs pos="7258">
                      <a:schemeClr val="accent2"/>
                    </a:gs>
                    <a:gs pos="19000">
                      <a:schemeClr val="accent2"/>
                    </a:gs>
                  </a:gsLst>
                  <a:lin ang="5400000" scaled="1"/>
                </a:gradFill>
                <a:latin typeface="Arial" panose="020B0604020202020204" pitchFamily="34" charset="0"/>
                <a:ea typeface="Roboto Light" panose="02000000000000000000" pitchFamily="2" charset="0"/>
                <a:cs typeface="Arial" panose="020B0604020202020204" pitchFamily="34" charset="0"/>
              </a:defRPr>
            </a:lvl1pPr>
          </a:lstStyle>
          <a:p>
            <a:fld id="{FCEE2C88-6C8F-484D-AF69-578F576B1F44}" type="slidenum">
              <a:rPr lang="en-US" smtClean="0"/>
              <a:pPr/>
              <a:t>‹#›</a:t>
            </a:fld>
            <a:endParaRPr lang="en-US"/>
          </a:p>
        </p:txBody>
      </p:sp>
      <p:sp>
        <p:nvSpPr>
          <p:cNvPr id="4" name="Picture Placeholder 4"/>
          <p:cNvSpPr>
            <a:spLocks noGrp="1"/>
          </p:cNvSpPr>
          <p:nvPr>
            <p:ph type="pic" sz="quarter" idx="21"/>
          </p:nvPr>
        </p:nvSpPr>
        <p:spPr>
          <a:xfrm>
            <a:off x="0" y="1068386"/>
            <a:ext cx="9144000" cy="2330452"/>
          </a:xfrm>
          <a:prstGeom prst="rect">
            <a:avLst/>
          </a:prstGeom>
          <a:solidFill>
            <a:schemeClr val="bg1">
              <a:lumMod val="50000"/>
            </a:schemeClr>
          </a:solidFill>
        </p:spPr>
        <p:txBody>
          <a:bodyPr tIns="1828800"/>
          <a:lstStyle>
            <a:lvl1pPr marL="0" indent="0" algn="ctr">
              <a:buNone/>
              <a:defRPr sz="900" b="1" baseline="0">
                <a:gradFill>
                  <a:gsLst>
                    <a:gs pos="2419">
                      <a:schemeClr val="bg1"/>
                    </a:gs>
                    <a:gs pos="8000">
                      <a:schemeClr val="bg1"/>
                    </a:gs>
                  </a:gsLst>
                  <a:lin ang="5400000" scaled="0"/>
                </a:gradFill>
                <a:latin typeface="Arial" panose="020B0604020202020204" pitchFamily="34" charset="0"/>
                <a:cs typeface="Arial" panose="020B0604020202020204" pitchFamily="34" charset="0"/>
              </a:defRPr>
            </a:lvl1pPr>
          </a:lstStyle>
          <a:p>
            <a:pPr marL="0" lvl="0" indent="0" algn="ctr">
              <a:buNone/>
            </a:pPr>
            <a:r>
              <a:rPr lang="en-US"/>
              <a:t>Click icon to add picture</a:t>
            </a:r>
          </a:p>
        </p:txBody>
      </p:sp>
      <p:sp>
        <p:nvSpPr>
          <p:cNvPr id="5" name="TextBox 4"/>
          <p:cNvSpPr txBox="1"/>
          <p:nvPr userDrawn="1"/>
        </p:nvSpPr>
        <p:spPr>
          <a:xfrm>
            <a:off x="304800" y="4800737"/>
            <a:ext cx="592470" cy="138499"/>
          </a:xfrm>
          <a:prstGeom prst="rect">
            <a:avLst/>
          </a:prstGeom>
          <a:noFill/>
        </p:spPr>
        <p:txBody>
          <a:bodyPr wrap="none" lIns="0" bIns="0" rtlCol="0" anchor="b" anchorCtr="0">
            <a:spAutoFit/>
          </a:bodyPr>
          <a:lstStyle/>
          <a:p>
            <a:pPr defTabSz="685755"/>
            <a:r>
              <a:rPr lang="en-AU" sz="600" spc="75">
                <a:gradFill>
                  <a:gsLst>
                    <a:gs pos="7258">
                      <a:schemeClr val="accent2"/>
                    </a:gs>
                    <a:gs pos="19000">
                      <a:schemeClr val="accent2"/>
                    </a:gs>
                  </a:gsLst>
                  <a:lin ang="5400000" scaled="1"/>
                </a:gradFill>
                <a:latin typeface="Arial" panose="020B0604020202020204" pitchFamily="34" charset="0"/>
                <a:ea typeface="Roboto Light" panose="02000000000000000000" pitchFamily="2" charset="0"/>
                <a:cs typeface="Arial" panose="020B0604020202020204" pitchFamily="34" charset="0"/>
              </a:rPr>
              <a:t>slalom.com</a:t>
            </a:r>
          </a:p>
        </p:txBody>
      </p:sp>
    </p:spTree>
    <p:extLst>
      <p:ext uri="{BB962C8B-B14F-4D97-AF65-F5344CB8AC3E}">
        <p14:creationId xmlns:p14="http://schemas.microsoft.com/office/powerpoint/2010/main" val="402036628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eam 1">
    <p:bg>
      <p:bgPr>
        <a:solidFill>
          <a:srgbClr val="FFFFFF"/>
        </a:solidFill>
        <a:effectLst/>
      </p:bgPr>
    </p:bg>
    <p:spTree>
      <p:nvGrpSpPr>
        <p:cNvPr id="1" name=""/>
        <p:cNvGrpSpPr/>
        <p:nvPr/>
      </p:nvGrpSpPr>
      <p:grpSpPr>
        <a:xfrm>
          <a:off x="0" y="0"/>
          <a:ext cx="0" cy="0"/>
          <a:chOff x="0" y="0"/>
          <a:chExt cx="0" cy="0"/>
        </a:xfrm>
      </p:grpSpPr>
      <p:sp>
        <p:nvSpPr>
          <p:cNvPr id="16" name="Slide Number Placeholder 5"/>
          <p:cNvSpPr>
            <a:spLocks noGrp="1"/>
          </p:cNvSpPr>
          <p:nvPr>
            <p:ph type="sldNum" sz="quarter" idx="12"/>
          </p:nvPr>
        </p:nvSpPr>
        <p:spPr>
          <a:xfrm>
            <a:off x="8533335" y="4838589"/>
            <a:ext cx="323309" cy="201168"/>
          </a:xfrm>
          <a:prstGeom prst="rect">
            <a:avLst/>
          </a:prstGeom>
        </p:spPr>
        <p:txBody>
          <a:bodyPr lIns="0" tIns="0" rIns="0" bIns="0"/>
          <a:lstStyle>
            <a:lvl1pPr algn="r">
              <a:defRPr lang="en-US" sz="600" smtClean="0"/>
            </a:lvl1pPr>
          </a:lstStyle>
          <a:p>
            <a:fld id="{FCEE2C88-6C8F-484D-AF69-578F576B1F44}" type="slidenum">
              <a:rPr lang="en-US" smtClean="0"/>
              <a:pPr/>
              <a:t>‹#›</a:t>
            </a:fld>
            <a:endParaRPr lang="en-US"/>
          </a:p>
        </p:txBody>
      </p:sp>
      <p:sp>
        <p:nvSpPr>
          <p:cNvPr id="8" name="Picture Placeholder 2"/>
          <p:cNvSpPr>
            <a:spLocks noGrp="1"/>
          </p:cNvSpPr>
          <p:nvPr>
            <p:ph type="pic" sz="quarter" idx="17"/>
          </p:nvPr>
        </p:nvSpPr>
        <p:spPr>
          <a:xfrm>
            <a:off x="1239160" y="1416208"/>
            <a:ext cx="1080000" cy="1080000"/>
          </a:xfrm>
          <a:prstGeom prst="ellipse">
            <a:avLst/>
          </a:prstGeom>
          <a:solidFill>
            <a:schemeClr val="bg1">
              <a:lumMod val="50000"/>
            </a:schemeClr>
          </a:solidFill>
        </p:spPr>
        <p:txBody>
          <a:bodyPr anchor="ctr">
            <a:normAutofit/>
          </a:bodyPr>
          <a:lstStyle>
            <a:lvl1pPr marL="0" indent="0" algn="ctr">
              <a:buNone/>
              <a:defRPr sz="1350">
                <a:gradFill>
                  <a:gsLst>
                    <a:gs pos="2419">
                      <a:schemeClr val="bg1"/>
                    </a:gs>
                    <a:gs pos="8000">
                      <a:schemeClr val="bg1"/>
                    </a:gs>
                  </a:gsLst>
                  <a:lin ang="5400000" scaled="0"/>
                </a:gradFill>
              </a:defRPr>
            </a:lvl1pPr>
          </a:lstStyle>
          <a:p>
            <a:r>
              <a:rPr lang="en-US"/>
              <a:t>Click icon to add picture</a:t>
            </a:r>
            <a:endParaRPr lang="id-ID"/>
          </a:p>
        </p:txBody>
      </p:sp>
      <p:sp>
        <p:nvSpPr>
          <p:cNvPr id="9" name="Picture Placeholder 2"/>
          <p:cNvSpPr>
            <a:spLocks noGrp="1"/>
          </p:cNvSpPr>
          <p:nvPr>
            <p:ph type="pic" sz="quarter" idx="18"/>
          </p:nvPr>
        </p:nvSpPr>
        <p:spPr>
          <a:xfrm>
            <a:off x="3065502" y="1416208"/>
            <a:ext cx="1080000" cy="1080000"/>
          </a:xfrm>
          <a:prstGeom prst="ellipse">
            <a:avLst/>
          </a:prstGeom>
          <a:solidFill>
            <a:schemeClr val="bg1">
              <a:lumMod val="50000"/>
            </a:schemeClr>
          </a:solidFill>
        </p:spPr>
        <p:txBody>
          <a:bodyPr anchor="ctr">
            <a:normAutofit/>
          </a:bodyPr>
          <a:lstStyle>
            <a:lvl1pPr marL="0" indent="0" algn="ctr">
              <a:buNone/>
              <a:defRPr sz="1350">
                <a:gradFill>
                  <a:gsLst>
                    <a:gs pos="2419">
                      <a:schemeClr val="bg1"/>
                    </a:gs>
                    <a:gs pos="8000">
                      <a:schemeClr val="bg1"/>
                    </a:gs>
                  </a:gsLst>
                  <a:lin ang="5400000" scaled="0"/>
                </a:gradFill>
              </a:defRPr>
            </a:lvl1pPr>
          </a:lstStyle>
          <a:p>
            <a:r>
              <a:rPr lang="en-US"/>
              <a:t>Click icon to add picture</a:t>
            </a:r>
            <a:endParaRPr lang="id-ID"/>
          </a:p>
        </p:txBody>
      </p:sp>
      <p:sp>
        <p:nvSpPr>
          <p:cNvPr id="11" name="Picture Placeholder 2"/>
          <p:cNvSpPr>
            <a:spLocks noGrp="1"/>
          </p:cNvSpPr>
          <p:nvPr>
            <p:ph type="pic" sz="quarter" idx="19"/>
          </p:nvPr>
        </p:nvSpPr>
        <p:spPr>
          <a:xfrm>
            <a:off x="4945921" y="1416208"/>
            <a:ext cx="1080000" cy="1080000"/>
          </a:xfrm>
          <a:prstGeom prst="ellipse">
            <a:avLst/>
          </a:prstGeom>
          <a:solidFill>
            <a:schemeClr val="bg1">
              <a:lumMod val="50000"/>
            </a:schemeClr>
          </a:solidFill>
        </p:spPr>
        <p:txBody>
          <a:bodyPr anchor="ctr">
            <a:normAutofit/>
          </a:bodyPr>
          <a:lstStyle>
            <a:lvl1pPr marL="0" indent="0" algn="ctr">
              <a:buNone/>
              <a:defRPr sz="1350">
                <a:gradFill>
                  <a:gsLst>
                    <a:gs pos="2419">
                      <a:schemeClr val="bg1"/>
                    </a:gs>
                    <a:gs pos="8000">
                      <a:schemeClr val="bg1"/>
                    </a:gs>
                  </a:gsLst>
                  <a:lin ang="5400000" scaled="0"/>
                </a:gradFill>
              </a:defRPr>
            </a:lvl1pPr>
          </a:lstStyle>
          <a:p>
            <a:r>
              <a:rPr lang="en-US"/>
              <a:t>Click icon to add picture</a:t>
            </a:r>
            <a:endParaRPr lang="id-ID"/>
          </a:p>
        </p:txBody>
      </p:sp>
      <p:sp>
        <p:nvSpPr>
          <p:cNvPr id="13" name="Picture Placeholder 2"/>
          <p:cNvSpPr>
            <a:spLocks noGrp="1"/>
          </p:cNvSpPr>
          <p:nvPr>
            <p:ph type="pic" sz="quarter" idx="20"/>
          </p:nvPr>
        </p:nvSpPr>
        <p:spPr>
          <a:xfrm>
            <a:off x="6789470" y="1416208"/>
            <a:ext cx="1080000" cy="1080000"/>
          </a:xfrm>
          <a:prstGeom prst="ellipse">
            <a:avLst/>
          </a:prstGeom>
          <a:solidFill>
            <a:schemeClr val="bg1">
              <a:lumMod val="50000"/>
            </a:schemeClr>
          </a:solidFill>
        </p:spPr>
        <p:txBody>
          <a:bodyPr anchor="ctr">
            <a:normAutofit/>
          </a:bodyPr>
          <a:lstStyle>
            <a:lvl1pPr marL="0" indent="0" algn="ctr">
              <a:buNone/>
              <a:defRPr sz="1350">
                <a:gradFill>
                  <a:gsLst>
                    <a:gs pos="2419">
                      <a:schemeClr val="bg1"/>
                    </a:gs>
                    <a:gs pos="8000">
                      <a:schemeClr val="bg1"/>
                    </a:gs>
                  </a:gsLst>
                  <a:lin ang="5400000" scaled="0"/>
                </a:gradFill>
              </a:defRPr>
            </a:lvl1pPr>
          </a:lstStyle>
          <a:p>
            <a:r>
              <a:rPr lang="en-US"/>
              <a:t>Click icon to add picture</a:t>
            </a:r>
            <a:endParaRPr lang="id-ID"/>
          </a:p>
        </p:txBody>
      </p:sp>
      <p:sp>
        <p:nvSpPr>
          <p:cNvPr id="14" name="Text Placeholder 10"/>
          <p:cNvSpPr>
            <a:spLocks noGrp="1"/>
          </p:cNvSpPr>
          <p:nvPr>
            <p:ph type="body" sz="quarter" idx="21"/>
          </p:nvPr>
        </p:nvSpPr>
        <p:spPr>
          <a:xfrm>
            <a:off x="991305" y="2712043"/>
            <a:ext cx="1575711" cy="215359"/>
          </a:xfrm>
          <a:prstGeom prst="rect">
            <a:avLst/>
          </a:prstGeom>
        </p:spPr>
        <p:txBody>
          <a:bodyPr lIns="0" tIns="0" rIns="0" bIns="0">
            <a:noAutofit/>
          </a:bodyPr>
          <a:lstStyle>
            <a:lvl1pPr marL="0" indent="0" algn="ctr">
              <a:buNone/>
              <a:defRPr sz="1050" b="1">
                <a:solidFill>
                  <a:schemeClr val="accent2"/>
                </a:soli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a:t>Click to edit Master text styles</a:t>
            </a:r>
          </a:p>
        </p:txBody>
      </p:sp>
      <p:sp>
        <p:nvSpPr>
          <p:cNvPr id="15" name="Text Placeholder 10"/>
          <p:cNvSpPr>
            <a:spLocks noGrp="1"/>
          </p:cNvSpPr>
          <p:nvPr>
            <p:ph type="body" sz="quarter" idx="22"/>
          </p:nvPr>
        </p:nvSpPr>
        <p:spPr>
          <a:xfrm>
            <a:off x="991303" y="2945323"/>
            <a:ext cx="1575714" cy="205131"/>
          </a:xfrm>
          <a:prstGeom prst="rect">
            <a:avLst/>
          </a:prstGeom>
        </p:spPr>
        <p:txBody>
          <a:bodyPr lIns="0" tIns="0" rIns="0" bIns="0">
            <a:noAutofit/>
          </a:bodyPr>
          <a:lstStyle>
            <a:lvl1pPr marL="0" indent="0" algn="ctr">
              <a:buNone/>
              <a:defRPr sz="900" i="0">
                <a:gradFill>
                  <a:gsLst>
                    <a:gs pos="28763">
                      <a:schemeClr val="tx1"/>
                    </a:gs>
                    <a:gs pos="15860">
                      <a:schemeClr val="tx1"/>
                    </a:gs>
                  </a:gsLst>
                  <a:lin ang="5400000" scaled="1"/>
                </a:gra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dirty="0"/>
              <a:t>Click to edit Master text styles</a:t>
            </a:r>
          </a:p>
        </p:txBody>
      </p:sp>
      <p:sp>
        <p:nvSpPr>
          <p:cNvPr id="18" name="Text Placeholder 10"/>
          <p:cNvSpPr>
            <a:spLocks noGrp="1"/>
          </p:cNvSpPr>
          <p:nvPr>
            <p:ph type="body" sz="quarter" idx="23"/>
          </p:nvPr>
        </p:nvSpPr>
        <p:spPr>
          <a:xfrm>
            <a:off x="2817647" y="2712043"/>
            <a:ext cx="1575711" cy="215359"/>
          </a:xfrm>
          <a:prstGeom prst="rect">
            <a:avLst/>
          </a:prstGeom>
        </p:spPr>
        <p:txBody>
          <a:bodyPr lIns="0" tIns="0" rIns="0" bIns="0">
            <a:noAutofit/>
          </a:bodyPr>
          <a:lstStyle>
            <a:lvl1pPr marL="0" indent="0" algn="ctr">
              <a:buNone/>
              <a:defRPr sz="1050" b="1">
                <a:solidFill>
                  <a:schemeClr val="accent2"/>
                </a:soli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a:t>Click to edit Master text styles</a:t>
            </a:r>
          </a:p>
        </p:txBody>
      </p:sp>
      <p:sp>
        <p:nvSpPr>
          <p:cNvPr id="19" name="Text Placeholder 10"/>
          <p:cNvSpPr>
            <a:spLocks noGrp="1"/>
          </p:cNvSpPr>
          <p:nvPr>
            <p:ph type="body" sz="quarter" idx="24"/>
          </p:nvPr>
        </p:nvSpPr>
        <p:spPr>
          <a:xfrm>
            <a:off x="2817645" y="2945323"/>
            <a:ext cx="1575714" cy="205131"/>
          </a:xfrm>
          <a:prstGeom prst="rect">
            <a:avLst/>
          </a:prstGeom>
        </p:spPr>
        <p:txBody>
          <a:bodyPr lIns="0" tIns="0" rIns="0" bIns="0">
            <a:noAutofit/>
          </a:bodyPr>
          <a:lstStyle>
            <a:lvl1pPr marL="0" indent="0" algn="ctr">
              <a:buNone/>
              <a:defRPr sz="900" i="0">
                <a:gradFill>
                  <a:gsLst>
                    <a:gs pos="28763">
                      <a:schemeClr val="tx1"/>
                    </a:gs>
                    <a:gs pos="15860">
                      <a:schemeClr val="tx1"/>
                    </a:gs>
                  </a:gsLst>
                  <a:lin ang="5400000" scaled="1"/>
                </a:gra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a:t>Click to edit Master text styles</a:t>
            </a:r>
          </a:p>
        </p:txBody>
      </p:sp>
      <p:sp>
        <p:nvSpPr>
          <p:cNvPr id="20" name="Text Placeholder 10"/>
          <p:cNvSpPr>
            <a:spLocks noGrp="1"/>
          </p:cNvSpPr>
          <p:nvPr>
            <p:ph type="body" sz="quarter" idx="25"/>
          </p:nvPr>
        </p:nvSpPr>
        <p:spPr>
          <a:xfrm>
            <a:off x="4698066" y="2712043"/>
            <a:ext cx="1575711" cy="215359"/>
          </a:xfrm>
          <a:prstGeom prst="rect">
            <a:avLst/>
          </a:prstGeom>
        </p:spPr>
        <p:txBody>
          <a:bodyPr lIns="0" tIns="0" rIns="0" bIns="0">
            <a:noAutofit/>
          </a:bodyPr>
          <a:lstStyle>
            <a:lvl1pPr marL="0" indent="0" algn="ctr">
              <a:buNone/>
              <a:defRPr sz="1050" b="1">
                <a:solidFill>
                  <a:schemeClr val="accent2"/>
                </a:soli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a:t>Click to edit Master text styles</a:t>
            </a:r>
          </a:p>
        </p:txBody>
      </p:sp>
      <p:sp>
        <p:nvSpPr>
          <p:cNvPr id="21" name="Text Placeholder 10"/>
          <p:cNvSpPr>
            <a:spLocks noGrp="1"/>
          </p:cNvSpPr>
          <p:nvPr>
            <p:ph type="body" sz="quarter" idx="26"/>
          </p:nvPr>
        </p:nvSpPr>
        <p:spPr>
          <a:xfrm>
            <a:off x="4698064" y="2945323"/>
            <a:ext cx="1575714" cy="205131"/>
          </a:xfrm>
          <a:prstGeom prst="rect">
            <a:avLst/>
          </a:prstGeom>
        </p:spPr>
        <p:txBody>
          <a:bodyPr lIns="0" tIns="0" rIns="0" bIns="0">
            <a:noAutofit/>
          </a:bodyPr>
          <a:lstStyle>
            <a:lvl1pPr marL="0" indent="0" algn="ctr">
              <a:buNone/>
              <a:defRPr sz="900" i="0">
                <a:gradFill>
                  <a:gsLst>
                    <a:gs pos="28763">
                      <a:schemeClr val="tx1"/>
                    </a:gs>
                    <a:gs pos="15860">
                      <a:schemeClr val="tx1"/>
                    </a:gs>
                  </a:gsLst>
                  <a:lin ang="5400000" scaled="1"/>
                </a:gra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a:t>Click to edit Master text styles</a:t>
            </a:r>
          </a:p>
        </p:txBody>
      </p:sp>
      <p:sp>
        <p:nvSpPr>
          <p:cNvPr id="22" name="Text Placeholder 10"/>
          <p:cNvSpPr>
            <a:spLocks noGrp="1"/>
          </p:cNvSpPr>
          <p:nvPr>
            <p:ph type="body" sz="quarter" idx="27"/>
          </p:nvPr>
        </p:nvSpPr>
        <p:spPr>
          <a:xfrm>
            <a:off x="6541615" y="2712043"/>
            <a:ext cx="1575711" cy="215359"/>
          </a:xfrm>
          <a:prstGeom prst="rect">
            <a:avLst/>
          </a:prstGeom>
        </p:spPr>
        <p:txBody>
          <a:bodyPr lIns="0" tIns="0" rIns="0" bIns="0">
            <a:noAutofit/>
          </a:bodyPr>
          <a:lstStyle>
            <a:lvl1pPr marL="0" indent="0" algn="ctr">
              <a:buNone/>
              <a:defRPr sz="1050" b="1">
                <a:solidFill>
                  <a:schemeClr val="accent2"/>
                </a:soli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a:t>Click to edit Master text styles</a:t>
            </a:r>
          </a:p>
        </p:txBody>
      </p:sp>
      <p:sp>
        <p:nvSpPr>
          <p:cNvPr id="23" name="Text Placeholder 10"/>
          <p:cNvSpPr>
            <a:spLocks noGrp="1"/>
          </p:cNvSpPr>
          <p:nvPr>
            <p:ph type="body" sz="quarter" idx="28"/>
          </p:nvPr>
        </p:nvSpPr>
        <p:spPr>
          <a:xfrm>
            <a:off x="6541613" y="2945323"/>
            <a:ext cx="1575714" cy="205131"/>
          </a:xfrm>
          <a:prstGeom prst="rect">
            <a:avLst/>
          </a:prstGeom>
        </p:spPr>
        <p:txBody>
          <a:bodyPr lIns="0" tIns="0" rIns="0" bIns="0">
            <a:noAutofit/>
          </a:bodyPr>
          <a:lstStyle>
            <a:lvl1pPr marL="0" indent="0" algn="ctr">
              <a:buNone/>
              <a:defRPr sz="900" i="0">
                <a:gradFill>
                  <a:gsLst>
                    <a:gs pos="28763">
                      <a:schemeClr val="tx1"/>
                    </a:gs>
                    <a:gs pos="15860">
                      <a:schemeClr val="tx1"/>
                    </a:gs>
                  </a:gsLst>
                  <a:lin ang="5400000" scaled="1"/>
                </a:gra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a:t>Click to edit Master text styles</a:t>
            </a:r>
          </a:p>
        </p:txBody>
      </p:sp>
      <p:sp>
        <p:nvSpPr>
          <p:cNvPr id="17" name="Text Placeholder 10"/>
          <p:cNvSpPr>
            <a:spLocks noGrp="1"/>
          </p:cNvSpPr>
          <p:nvPr>
            <p:ph type="body" sz="quarter" idx="14" hasCustomPrompt="1"/>
          </p:nvPr>
        </p:nvSpPr>
        <p:spPr>
          <a:xfrm>
            <a:off x="390524" y="474587"/>
            <a:ext cx="8369301" cy="455947"/>
          </a:xfrm>
        </p:spPr>
        <p:txBody>
          <a:bodyPr vert="horz" wrap="square" lIns="0" tIns="0" rIns="0" bIns="0" rtlCol="0">
            <a:noAutofit/>
          </a:bodyPr>
          <a:lstStyle>
            <a:lvl1pPr marL="285750" indent="-285750" algn="ctr">
              <a:buFont typeface="Arial" panose="020B0604020202020204" pitchFamily="34" charset="0"/>
              <a:buNone/>
              <a:defRPr lang="en-US" sz="2400" b="0" kern="0" spc="-70" baseline="0" dirty="0">
                <a:gradFill>
                  <a:gsLst>
                    <a:gs pos="2419">
                      <a:schemeClr val="accent2"/>
                    </a:gs>
                    <a:gs pos="7000">
                      <a:schemeClr val="accent2"/>
                    </a:gs>
                  </a:gsLst>
                  <a:lin ang="5400000" scaled="1"/>
                </a:gradFill>
                <a:latin typeface="Arial" panose="020B0604020202020204" pitchFamily="34" charset="0"/>
                <a:ea typeface="Roboto Medium" panose="02000000000000000000" pitchFamily="2" charset="0"/>
                <a:cs typeface="Arial" panose="020B0604020202020204" pitchFamily="34" charset="0"/>
              </a:defRPr>
            </a:lvl1pPr>
          </a:lstStyle>
          <a:p>
            <a:pPr marL="0" lvl="0" indent="0" algn="ctr" defTabSz="914400" rtl="0" eaLnBrk="1" latinLnBrk="0" hangingPunct="1">
              <a:lnSpc>
                <a:spcPct val="90000"/>
              </a:lnSpc>
              <a:spcBef>
                <a:spcPts val="1200"/>
              </a:spcBef>
              <a:buClr>
                <a:srgbClr val="0072C8"/>
              </a:buClr>
              <a:buSzPct val="110000"/>
              <a:buFont typeface="Arial" panose="020B0604020202020204" pitchFamily="34" charset="0"/>
              <a:buNone/>
            </a:pPr>
            <a:r>
              <a:rPr lang="en-US" dirty="0"/>
              <a:t>Insert Slide Title Here</a:t>
            </a:r>
          </a:p>
        </p:txBody>
      </p:sp>
      <p:sp>
        <p:nvSpPr>
          <p:cNvPr id="24" name="TextBox 23"/>
          <p:cNvSpPr txBox="1"/>
          <p:nvPr userDrawn="1"/>
        </p:nvSpPr>
        <p:spPr>
          <a:xfrm>
            <a:off x="304800" y="4800737"/>
            <a:ext cx="592470" cy="138499"/>
          </a:xfrm>
          <a:prstGeom prst="rect">
            <a:avLst/>
          </a:prstGeom>
          <a:noFill/>
        </p:spPr>
        <p:txBody>
          <a:bodyPr wrap="none" lIns="0" bIns="0" rtlCol="0" anchor="b" anchorCtr="0">
            <a:spAutoFit/>
          </a:bodyPr>
          <a:lstStyle/>
          <a:p>
            <a:pPr defTabSz="685755"/>
            <a:r>
              <a:rPr lang="en-AU" sz="600" spc="75">
                <a:gradFill>
                  <a:gsLst>
                    <a:gs pos="7258">
                      <a:schemeClr val="accent2"/>
                    </a:gs>
                    <a:gs pos="19000">
                      <a:schemeClr val="accent2"/>
                    </a:gs>
                  </a:gsLst>
                  <a:lin ang="5400000" scaled="1"/>
                </a:gradFill>
                <a:latin typeface="Arial" panose="020B0604020202020204" pitchFamily="34" charset="0"/>
                <a:ea typeface="Roboto Light" panose="02000000000000000000" pitchFamily="2" charset="0"/>
                <a:cs typeface="Arial" panose="020B0604020202020204" pitchFamily="34" charset="0"/>
              </a:rPr>
              <a:t>slalom.com</a:t>
            </a:r>
          </a:p>
        </p:txBody>
      </p:sp>
    </p:spTree>
    <p:extLst>
      <p:ext uri="{BB962C8B-B14F-4D97-AF65-F5344CB8AC3E}">
        <p14:creationId xmlns:p14="http://schemas.microsoft.com/office/powerpoint/2010/main" val="5010266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Logo Slide 1">
    <p:bg>
      <p:bgPr>
        <a:solidFill>
          <a:schemeClr val="accent2"/>
        </a:solidFill>
        <a:effectLst/>
      </p:bgPr>
    </p:bg>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8533335" y="4838589"/>
            <a:ext cx="323309" cy="201168"/>
          </a:xfrm>
          <a:prstGeom prst="rect">
            <a:avLst/>
          </a:prstGeom>
        </p:spPr>
        <p:txBody>
          <a:bodyPr lIns="0" tIns="0" rIns="0" bIns="0"/>
          <a:lstStyle>
            <a:lvl1pPr algn="r">
              <a:defRPr sz="600">
                <a:gradFill>
                  <a:gsLst>
                    <a:gs pos="7258">
                      <a:schemeClr val="bg1"/>
                    </a:gs>
                    <a:gs pos="19000">
                      <a:schemeClr val="bg1"/>
                    </a:gs>
                  </a:gsLst>
                  <a:lin ang="5400000" scaled="1"/>
                </a:gradFill>
                <a:latin typeface="Arial" panose="020B0604020202020204" pitchFamily="34" charset="0"/>
                <a:ea typeface="Roboto Light" panose="02000000000000000000" pitchFamily="2" charset="0"/>
                <a:cs typeface="Arial" panose="020B0604020202020204" pitchFamily="34" charset="0"/>
              </a:defRPr>
            </a:lvl1pPr>
          </a:lstStyle>
          <a:p>
            <a:fld id="{FCEE2C88-6C8F-484D-AF69-578F576B1F44}" type="slidenum">
              <a:rPr lang="en-US" smtClean="0"/>
              <a:pPr/>
              <a:t>‹#›</a:t>
            </a:fld>
            <a:endParaRPr lang="en-US"/>
          </a:p>
        </p:txBody>
      </p:sp>
      <p:sp>
        <p:nvSpPr>
          <p:cNvPr id="8" name="TextBox 7"/>
          <p:cNvSpPr txBox="1"/>
          <p:nvPr userDrawn="1"/>
        </p:nvSpPr>
        <p:spPr>
          <a:xfrm>
            <a:off x="304619" y="4800737"/>
            <a:ext cx="592470" cy="138499"/>
          </a:xfrm>
          <a:prstGeom prst="rect">
            <a:avLst/>
          </a:prstGeom>
          <a:noFill/>
        </p:spPr>
        <p:txBody>
          <a:bodyPr wrap="none" lIns="0" bIns="0" rtlCol="0" anchor="b" anchorCtr="0">
            <a:spAutoFit/>
          </a:bodyPr>
          <a:lstStyle/>
          <a:p>
            <a:pPr marL="0" algn="l" defTabSz="685755" rtl="0" eaLnBrk="1" latinLnBrk="0" hangingPunct="1"/>
            <a:r>
              <a:rPr lang="en-AU" sz="600" kern="1200" spc="75" baseline="0">
                <a:gradFill>
                  <a:gsLst>
                    <a:gs pos="7258">
                      <a:schemeClr val="bg1"/>
                    </a:gs>
                    <a:gs pos="19000">
                      <a:schemeClr val="bg1"/>
                    </a:gs>
                  </a:gsLst>
                  <a:lin ang="5400000" scaled="1"/>
                </a:gradFill>
                <a:latin typeface="Arial" panose="020B0604020202020204" pitchFamily="34" charset="0"/>
                <a:ea typeface="Roboto Light" panose="02000000000000000000" pitchFamily="2" charset="0"/>
                <a:cs typeface="Arial" panose="020B0604020202020204" pitchFamily="34" charset="0"/>
              </a:rPr>
              <a:t>slalom.com</a:t>
            </a:r>
          </a:p>
        </p:txBody>
      </p:sp>
      <p:grpSp>
        <p:nvGrpSpPr>
          <p:cNvPr id="5" name="Group 4"/>
          <p:cNvGrpSpPr/>
          <p:nvPr userDrawn="1"/>
        </p:nvGrpSpPr>
        <p:grpSpPr>
          <a:xfrm>
            <a:off x="1831837" y="2021299"/>
            <a:ext cx="5480327" cy="3082104"/>
            <a:chOff x="-1026613" y="1901064"/>
            <a:chExt cx="7307103" cy="4109472"/>
          </a:xfrm>
        </p:grpSpPr>
        <p:sp>
          <p:nvSpPr>
            <p:cNvPr id="6" name="Text Box 3"/>
            <p:cNvSpPr txBox="1">
              <a:spLocks noChangeArrowheads="1"/>
            </p:cNvSpPr>
            <p:nvPr userDrawn="1"/>
          </p:nvSpPr>
          <p:spPr bwMode="blackWhite">
            <a:xfrm>
              <a:off x="-1026613" y="5540328"/>
              <a:ext cx="7307103" cy="470208"/>
            </a:xfrm>
            <a:prstGeom prst="rect">
              <a:avLst/>
            </a:prstGeom>
            <a:noFill/>
            <a:ln w="12700">
              <a:noFill/>
              <a:miter lim="800000"/>
              <a:headEnd type="none" w="sm" len="sm"/>
              <a:tailEnd type="none" w="sm" len="sm"/>
            </a:ln>
            <a:effectLst/>
          </p:spPr>
          <p:txBody>
            <a:bodyPr wrap="square" lIns="0" tIns="34285" rIns="0" bIns="137160" anchor="b" anchorCtr="0">
              <a:spAutoFit/>
            </a:bodyPr>
            <a:lstStyle/>
            <a:p>
              <a:pPr algn="ctr" defTabSz="685574" eaLnBrk="0" hangingPunct="0">
                <a:lnSpc>
                  <a:spcPts val="675"/>
                </a:lnSpc>
                <a:defRPr/>
              </a:pPr>
              <a:r>
                <a:rPr lang="en-US" sz="525" dirty="0">
                  <a:gradFill>
                    <a:gsLst>
                      <a:gs pos="5417">
                        <a:srgbClr val="FFFFFF"/>
                      </a:gs>
                      <a:gs pos="13333">
                        <a:srgbClr val="FFFFFF"/>
                      </a:gs>
                    </a:gsLst>
                    <a:lin ang="5400000" scaled="0"/>
                  </a:gradFill>
                  <a:latin typeface="Arial" panose="020B0604020202020204" pitchFamily="34" charset="0"/>
                  <a:cs typeface="Arial" panose="020B0604020202020204" pitchFamily="34" charset="0"/>
                </a:rPr>
                <a:t>© 2018 Slalom, LLC. All rights reserved. The information herein is for informational purposes only and represents the current view of Slalom, LLC. as of the date of this presentation. SLALOM MAKES NO WARRANTIES, EXPRESS, IMPLIED, OR STATUTORY, AS TO THE INFORMATION IN THIS PRESENTATION.</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0896" y="1901064"/>
              <a:ext cx="3172083" cy="826701"/>
            </a:xfrm>
            <a:prstGeom prst="rect">
              <a:avLst/>
            </a:prstGeom>
            <a:noFill/>
            <a:ln>
              <a:noFill/>
            </a:ln>
          </p:spPr>
        </p:pic>
      </p:grpSp>
    </p:spTree>
    <p:extLst>
      <p:ext uri="{BB962C8B-B14F-4D97-AF65-F5344CB8AC3E}">
        <p14:creationId xmlns:p14="http://schemas.microsoft.com/office/powerpoint/2010/main" val="9973954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Logo Slide 2">
    <p:bg>
      <p:bgRef idx="1001">
        <a:schemeClr val="bg1"/>
      </p:bgRef>
    </p:bg>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8533335" y="4838589"/>
            <a:ext cx="323309" cy="201168"/>
          </a:xfrm>
          <a:prstGeom prst="rect">
            <a:avLst/>
          </a:prstGeom>
        </p:spPr>
        <p:txBody>
          <a:bodyPr lIns="0" tIns="0" rIns="0" bIns="0"/>
          <a:lstStyle>
            <a:lvl1pPr algn="r">
              <a:defRPr sz="600">
                <a:solidFill>
                  <a:schemeClr val="tx1"/>
                </a:solidFill>
                <a:latin typeface="Arial" panose="020B0604020202020204" pitchFamily="34" charset="0"/>
                <a:ea typeface="Roboto Light" panose="02000000000000000000" pitchFamily="2" charset="0"/>
                <a:cs typeface="Arial" panose="020B0604020202020204" pitchFamily="34" charset="0"/>
              </a:defRPr>
            </a:lvl1pPr>
          </a:lstStyle>
          <a:p>
            <a:fld id="{FCEE2C88-6C8F-484D-AF69-578F576B1F44}" type="slidenum">
              <a:rPr lang="en-US" smtClean="0"/>
              <a:pPr/>
              <a:t>‹#›</a:t>
            </a:fld>
            <a:endParaRPr lang="en-US"/>
          </a:p>
        </p:txBody>
      </p:sp>
      <p:sp>
        <p:nvSpPr>
          <p:cNvPr id="8" name="TextBox 7"/>
          <p:cNvSpPr txBox="1"/>
          <p:nvPr userDrawn="1"/>
        </p:nvSpPr>
        <p:spPr>
          <a:xfrm>
            <a:off x="304619" y="4800737"/>
            <a:ext cx="592470" cy="138499"/>
          </a:xfrm>
          <a:prstGeom prst="rect">
            <a:avLst/>
          </a:prstGeom>
          <a:noFill/>
        </p:spPr>
        <p:txBody>
          <a:bodyPr wrap="none" lIns="0" bIns="0" rtlCol="0" anchor="b" anchorCtr="0">
            <a:spAutoFit/>
          </a:bodyPr>
          <a:lstStyle/>
          <a:p>
            <a:pPr marL="0" algn="l" defTabSz="685755" rtl="0" eaLnBrk="1" latinLnBrk="0" hangingPunct="1"/>
            <a:r>
              <a:rPr lang="en-AU" sz="600" kern="1200" spc="75" baseline="0">
                <a:solidFill>
                  <a:schemeClr val="tx1"/>
                </a:solidFill>
                <a:latin typeface="Arial" panose="020B0604020202020204" pitchFamily="34" charset="0"/>
                <a:ea typeface="Roboto Light" panose="02000000000000000000" pitchFamily="2" charset="0"/>
                <a:cs typeface="Arial" panose="020B0604020202020204" pitchFamily="34" charset="0"/>
              </a:rPr>
              <a:t>slalom.com</a:t>
            </a:r>
          </a:p>
        </p:txBody>
      </p:sp>
      <p:sp>
        <p:nvSpPr>
          <p:cNvPr id="6" name="Text Box 3"/>
          <p:cNvSpPr txBox="1">
            <a:spLocks noChangeArrowheads="1"/>
          </p:cNvSpPr>
          <p:nvPr userDrawn="1"/>
        </p:nvSpPr>
        <p:spPr bwMode="blackWhite">
          <a:xfrm>
            <a:off x="1831837" y="4750747"/>
            <a:ext cx="5480327" cy="352656"/>
          </a:xfrm>
          <a:prstGeom prst="rect">
            <a:avLst/>
          </a:prstGeom>
          <a:noFill/>
          <a:ln w="12700">
            <a:noFill/>
            <a:miter lim="800000"/>
            <a:headEnd type="none" w="sm" len="sm"/>
            <a:tailEnd type="none" w="sm" len="sm"/>
          </a:ln>
          <a:effectLst/>
        </p:spPr>
        <p:txBody>
          <a:bodyPr wrap="square" lIns="0" tIns="34285" rIns="0" bIns="137160" anchor="b" anchorCtr="0">
            <a:spAutoFit/>
          </a:bodyPr>
          <a:lstStyle/>
          <a:p>
            <a:pPr algn="ctr" defTabSz="685574" eaLnBrk="0" hangingPunct="0">
              <a:lnSpc>
                <a:spcPts val="675"/>
              </a:lnSpc>
              <a:defRPr/>
            </a:pPr>
            <a:r>
              <a:rPr lang="en-US" sz="525" dirty="0">
                <a:solidFill>
                  <a:schemeClr val="tx1"/>
                </a:solidFill>
                <a:latin typeface="Arial" panose="020B0604020202020204" pitchFamily="34" charset="0"/>
                <a:cs typeface="Arial" panose="020B0604020202020204" pitchFamily="34" charset="0"/>
              </a:rPr>
              <a:t>© 2018 Slalom, LLC. All rights reserved. The information herein is for informational purposes only and represents the current view of Slalom, LLC. as of the date of this presentation. SLALOM MAKES NO WARRANTIES, EXPRESS, IMPLIED, OR STATUTORY, AS TO THE INFORMATION IN THIS PRESENTATION.</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9669" y="1841368"/>
            <a:ext cx="2784662" cy="986235"/>
          </a:xfrm>
          <a:prstGeom prst="rect">
            <a:avLst/>
          </a:prstGeom>
        </p:spPr>
      </p:pic>
    </p:spTree>
    <p:extLst>
      <p:ext uri="{BB962C8B-B14F-4D97-AF65-F5344CB8AC3E}">
        <p14:creationId xmlns:p14="http://schemas.microsoft.com/office/powerpoint/2010/main" val="161385644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Main Title Slide Gradient">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0" y="1"/>
            <a:ext cx="9144000" cy="5143501"/>
          </a:xfrm>
          <a:prstGeom prst="rect">
            <a:avLst/>
          </a:prstGeom>
          <a:gradFill flip="none" rotWithShape="1">
            <a:gsLst>
              <a:gs pos="57755">
                <a:srgbClr val="00669B"/>
              </a:gs>
              <a:gs pos="15000">
                <a:srgbClr val="2B2C72"/>
              </a:gs>
              <a:gs pos="100000">
                <a:srgbClr val="6DC2D9"/>
              </a:gs>
            </a:gsLst>
            <a:lin ang="18900000" scaled="1"/>
            <a:tileRect/>
          </a:gradFill>
          <a:ln w="25400" cap="flat" cmpd="sng" algn="ctr">
            <a:noFill/>
            <a:prstDash val="solid"/>
          </a:ln>
          <a:effectLst/>
        </p:spPr>
        <p:txBody>
          <a:bodyPr lIns="91440" tIns="91440" rIns="91440" bIns="91440" rtlCol="0" anchor="ctr" anchorCtr="0"/>
          <a:lstStyle/>
          <a:p>
            <a:pPr algn="ctr" defTabSz="914378">
              <a:defRPr/>
            </a:pPr>
            <a:endParaRPr lang="en-US" kern="0">
              <a:gradFill>
                <a:gsLst>
                  <a:gs pos="0">
                    <a:srgbClr val="FFFFFF"/>
                  </a:gs>
                  <a:gs pos="98000">
                    <a:srgbClr val="FFFFFF"/>
                  </a:gs>
                </a:gsLst>
                <a:lin ang="5400000" scaled="0"/>
              </a:gradFill>
              <a:latin typeface="Arial" panose="020B0604020202020204"/>
              <a:ea typeface="Segoe UI Black" panose="020B0A02040204020203" pitchFamily="34" charset="0"/>
              <a:cs typeface="Segoe UI Black" panose="020B0A02040204020203" pitchFamily="34" charset="0"/>
            </a:endParaRPr>
          </a:p>
        </p:txBody>
      </p:sp>
      <p:sp>
        <p:nvSpPr>
          <p:cNvPr id="6" name="Title Placeholder 1"/>
          <p:cNvSpPr>
            <a:spLocks noGrp="1"/>
          </p:cNvSpPr>
          <p:nvPr>
            <p:ph type="title" hasCustomPrompt="1"/>
          </p:nvPr>
        </p:nvSpPr>
        <p:spPr>
          <a:xfrm>
            <a:off x="304800" y="1688951"/>
            <a:ext cx="8455026" cy="1162498"/>
          </a:xfrm>
          <a:prstGeom prst="rect">
            <a:avLst/>
          </a:prstGeom>
        </p:spPr>
        <p:txBody>
          <a:bodyPr vert="horz" lIns="0" tIns="45720" rIns="91440" bIns="45720" rtlCol="0" anchor="b">
            <a:noAutofit/>
          </a:bodyPr>
          <a:lstStyle>
            <a:lvl1pPr algn="l" defTabSz="685766" rtl="0" eaLnBrk="1" latinLnBrk="0" hangingPunct="1">
              <a:lnSpc>
                <a:spcPct val="90000"/>
              </a:lnSpc>
              <a:spcBef>
                <a:spcPct val="0"/>
              </a:spcBef>
              <a:buNone/>
              <a:defRPr lang="en-US" sz="3600" b="1" kern="1200" spc="-100" baseline="0" dirty="0">
                <a:gradFill>
                  <a:gsLst>
                    <a:gs pos="4839">
                      <a:schemeClr val="bg1"/>
                    </a:gs>
                    <a:gs pos="10000">
                      <a:schemeClr val="bg1"/>
                    </a:gs>
                  </a:gsLst>
                  <a:lin ang="5400000" scaled="1"/>
                </a:gradFill>
                <a:latin typeface="Arial" panose="020B0604020202020204" pitchFamily="34" charset="0"/>
                <a:ea typeface="Roboto Medium" panose="02000000000000000000" pitchFamily="2" charset="0"/>
                <a:cs typeface="Arial" panose="020B0604020202020204" pitchFamily="34" charset="0"/>
              </a:defRPr>
            </a:lvl1pPr>
          </a:lstStyle>
          <a:p>
            <a:r>
              <a:rPr lang="en-US" dirty="0"/>
              <a:t>Insert title here. </a:t>
            </a:r>
          </a:p>
        </p:txBody>
      </p:sp>
      <p:sp>
        <p:nvSpPr>
          <p:cNvPr id="12" name="Text Placeholder 10"/>
          <p:cNvSpPr>
            <a:spLocks noGrp="1"/>
          </p:cNvSpPr>
          <p:nvPr>
            <p:ph type="body" sz="quarter" idx="15" hasCustomPrompt="1"/>
          </p:nvPr>
        </p:nvSpPr>
        <p:spPr>
          <a:xfrm>
            <a:off x="313932" y="2963121"/>
            <a:ext cx="8445894" cy="232819"/>
          </a:xfrm>
        </p:spPr>
        <p:txBody>
          <a:bodyPr lIns="0" tIns="0" rIns="0" bIns="0">
            <a:noAutofit/>
          </a:bodyPr>
          <a:lstStyle>
            <a:lvl1pPr mar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defRPr lang="en-US" sz="1100" b="0" kern="1200" spc="50" baseline="0" dirty="0">
                <a:gradFill>
                  <a:gsLst>
                    <a:gs pos="7258">
                      <a:srgbClr val="FFFFFF"/>
                    </a:gs>
                    <a:gs pos="19000">
                      <a:srgbClr val="FFFFFF"/>
                    </a:gs>
                  </a:gsLst>
                  <a:lin ang="5400000" scaled="1"/>
                </a:gradFill>
                <a:latin typeface="Arial" panose="020B0604020202020204" pitchFamily="34" charset="0"/>
                <a:ea typeface="+mn-ea"/>
                <a:cs typeface="Arial" panose="020B0604020202020204" pitchFamily="34" charset="0"/>
              </a:defRPr>
            </a:lvl1pPr>
          </a:lstStyle>
          <a:p>
            <a:pPr lvl="0"/>
            <a:r>
              <a:rPr lang="en-US" dirty="0"/>
              <a:t>This is a title slide. Do not use this for content slides. </a:t>
            </a:r>
          </a:p>
        </p:txBody>
      </p:sp>
      <p:sp>
        <p:nvSpPr>
          <p:cNvPr id="13" name="Text Placeholder 10"/>
          <p:cNvSpPr>
            <a:spLocks noGrp="1"/>
          </p:cNvSpPr>
          <p:nvPr>
            <p:ph type="body" sz="quarter" idx="22" hasCustomPrompt="1"/>
          </p:nvPr>
        </p:nvSpPr>
        <p:spPr>
          <a:xfrm>
            <a:off x="313932" y="3313367"/>
            <a:ext cx="8445894" cy="208271"/>
          </a:xfrm>
        </p:spPr>
        <p:txBody>
          <a:bodyPr lIns="0" tIns="0" rIns="0" bIns="0">
            <a:normAutofit/>
          </a:bodyPr>
          <a:lstStyle>
            <a:lvl1pPr marL="0" indent="0" algn="l">
              <a:buNone/>
              <a:defRPr sz="900" b="0" kern="0" spc="38" baseline="0">
                <a:solidFill>
                  <a:schemeClr val="accent1">
                    <a:lumMod val="60000"/>
                    <a:lumOff val="40000"/>
                  </a:schemeClr>
                </a:solidFill>
                <a:latin typeface="Arial" panose="020B0604020202020204" pitchFamily="34" charset="0"/>
                <a:ea typeface="Roboto Light" panose="02000000000000000000" pitchFamily="2" charset="0"/>
                <a:cs typeface="Arial" panose="020B0604020202020204" pitchFamily="34" charset="0"/>
              </a:defRPr>
            </a:lvl1pPr>
          </a:lstStyle>
          <a:p>
            <a:pPr lvl="0"/>
            <a:r>
              <a:rPr lang="en-US" dirty="0"/>
              <a:t>Date</a:t>
            </a:r>
          </a:p>
        </p:txBody>
      </p:sp>
    </p:spTree>
    <p:extLst>
      <p:ext uri="{BB962C8B-B14F-4D97-AF65-F5344CB8AC3E}">
        <p14:creationId xmlns:p14="http://schemas.microsoft.com/office/powerpoint/2010/main" val="181867350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subtitle with Photographic background">
    <p:bg>
      <p:bgPr>
        <a:solidFill>
          <a:srgbClr val="FFFFFF"/>
        </a:solidFill>
        <a:effectLst/>
      </p:bgPr>
    </p:bg>
    <p:spTree>
      <p:nvGrpSpPr>
        <p:cNvPr id="1" name=""/>
        <p:cNvGrpSpPr/>
        <p:nvPr/>
      </p:nvGrpSpPr>
      <p:grpSpPr>
        <a:xfrm>
          <a:off x="0" y="0"/>
          <a:ext cx="0" cy="0"/>
          <a:chOff x="0" y="0"/>
          <a:chExt cx="0" cy="0"/>
        </a:xfrm>
      </p:grpSpPr>
      <p:sp>
        <p:nvSpPr>
          <p:cNvPr id="9" name="Picture Placeholder 4"/>
          <p:cNvSpPr>
            <a:spLocks noGrp="1"/>
          </p:cNvSpPr>
          <p:nvPr>
            <p:ph type="pic" sz="quarter" idx="21"/>
          </p:nvPr>
        </p:nvSpPr>
        <p:spPr>
          <a:xfrm>
            <a:off x="0" y="0"/>
            <a:ext cx="9144000" cy="5143500"/>
          </a:xfrm>
          <a:prstGeom prst="rect">
            <a:avLst/>
          </a:prstGeom>
          <a:solidFill>
            <a:schemeClr val="bg1">
              <a:lumMod val="50000"/>
            </a:schemeClr>
          </a:solidFill>
        </p:spPr>
        <p:txBody>
          <a:bodyPr tIns="3383280"/>
          <a:lstStyle>
            <a:lvl1pPr marL="0" indent="0" algn="ctr">
              <a:buNone/>
              <a:defRPr sz="900" b="1" baseline="0">
                <a:gradFill>
                  <a:gsLst>
                    <a:gs pos="2419">
                      <a:schemeClr val="bg1"/>
                    </a:gs>
                    <a:gs pos="8000">
                      <a:schemeClr val="bg1"/>
                    </a:gs>
                  </a:gsLst>
                  <a:lin ang="5400000" scaled="0"/>
                </a:gradFill>
                <a:latin typeface="Arial" panose="020B0604020202020204" pitchFamily="34" charset="0"/>
                <a:cs typeface="Arial" panose="020B0604020202020204" pitchFamily="34" charset="0"/>
              </a:defRPr>
            </a:lvl1pPr>
          </a:lstStyle>
          <a:p>
            <a:pPr marL="0" lvl="0" indent="0" algn="ctr">
              <a:buNone/>
            </a:pPr>
            <a:r>
              <a:rPr lang="en-US"/>
              <a:t>Click icon to add picture</a:t>
            </a:r>
          </a:p>
        </p:txBody>
      </p:sp>
      <p:sp>
        <p:nvSpPr>
          <p:cNvPr id="7" name="Slide Number Placeholder 5"/>
          <p:cNvSpPr>
            <a:spLocks noGrp="1"/>
          </p:cNvSpPr>
          <p:nvPr>
            <p:ph type="sldNum" sz="quarter" idx="12"/>
          </p:nvPr>
        </p:nvSpPr>
        <p:spPr>
          <a:xfrm>
            <a:off x="8533335" y="4838589"/>
            <a:ext cx="323309" cy="201168"/>
          </a:xfrm>
          <a:prstGeom prst="rect">
            <a:avLst/>
          </a:prstGeom>
        </p:spPr>
        <p:txBody>
          <a:bodyPr lIns="0" tIns="0" rIns="0" bIns="0"/>
          <a:lstStyle>
            <a:lvl1pPr algn="r">
              <a:defRPr sz="600">
                <a:gradFill>
                  <a:gsLst>
                    <a:gs pos="7258">
                      <a:schemeClr val="bg1"/>
                    </a:gs>
                    <a:gs pos="19000">
                      <a:schemeClr val="bg1"/>
                    </a:gs>
                  </a:gsLst>
                  <a:lin ang="5400000" scaled="1"/>
                </a:gradFill>
                <a:latin typeface="Arial" panose="020B0604020202020204" pitchFamily="34" charset="0"/>
                <a:ea typeface="Roboto Light" panose="02000000000000000000" pitchFamily="2" charset="0"/>
                <a:cs typeface="Arial" panose="020B0604020202020204" pitchFamily="34" charset="0"/>
              </a:defRPr>
            </a:lvl1pPr>
          </a:lstStyle>
          <a:p>
            <a:fld id="{FCEE2C88-6C8F-484D-AF69-578F576B1F44}" type="slidenum">
              <a:rPr lang="en-US" smtClean="0"/>
              <a:pPr/>
              <a:t>‹#›</a:t>
            </a:fld>
            <a:endParaRPr lang="en-US"/>
          </a:p>
        </p:txBody>
      </p:sp>
      <p:sp>
        <p:nvSpPr>
          <p:cNvPr id="8" name="TextBox 7"/>
          <p:cNvSpPr txBox="1"/>
          <p:nvPr userDrawn="1"/>
        </p:nvSpPr>
        <p:spPr>
          <a:xfrm>
            <a:off x="304619" y="4800737"/>
            <a:ext cx="592470" cy="138499"/>
          </a:xfrm>
          <a:prstGeom prst="rect">
            <a:avLst/>
          </a:prstGeom>
          <a:noFill/>
        </p:spPr>
        <p:txBody>
          <a:bodyPr wrap="none" lIns="0" bIns="0" rtlCol="0" anchor="b" anchorCtr="0">
            <a:spAutoFit/>
          </a:bodyPr>
          <a:lstStyle/>
          <a:p>
            <a:pPr marL="0" algn="l" defTabSz="685755" rtl="0" eaLnBrk="1" latinLnBrk="0" hangingPunct="1"/>
            <a:r>
              <a:rPr lang="en-AU" sz="600" kern="1200" spc="75" baseline="0">
                <a:gradFill>
                  <a:gsLst>
                    <a:gs pos="7258">
                      <a:schemeClr val="bg1"/>
                    </a:gs>
                    <a:gs pos="19000">
                      <a:schemeClr val="bg1"/>
                    </a:gs>
                  </a:gsLst>
                  <a:lin ang="5400000" scaled="1"/>
                </a:gradFill>
                <a:latin typeface="Arial" panose="020B0604020202020204" pitchFamily="34" charset="0"/>
                <a:ea typeface="Roboto Light" panose="02000000000000000000" pitchFamily="2" charset="0"/>
                <a:cs typeface="Arial" panose="020B0604020202020204" pitchFamily="34" charset="0"/>
              </a:rPr>
              <a:t>slalom.com</a:t>
            </a:r>
          </a:p>
        </p:txBody>
      </p:sp>
      <p:sp>
        <p:nvSpPr>
          <p:cNvPr id="5" name="Text Placeholder 10"/>
          <p:cNvSpPr>
            <a:spLocks noGrp="1"/>
          </p:cNvSpPr>
          <p:nvPr>
            <p:ph type="body" sz="quarter" idx="14" hasCustomPrompt="1"/>
          </p:nvPr>
        </p:nvSpPr>
        <p:spPr>
          <a:xfrm>
            <a:off x="304801" y="325090"/>
            <a:ext cx="8534400" cy="337614"/>
          </a:xfrm>
        </p:spPr>
        <p:txBody>
          <a:bodyPr vert="horz" wrap="square" lIns="0" tIns="0" rIns="0" bIns="0" rtlCol="0">
            <a:noAutofit/>
          </a:bodyPr>
          <a:lstStyle>
            <a:lvl1pPr marL="285750" indent="-285750">
              <a:buFont typeface="Arial" panose="020B0604020202020204" pitchFamily="34" charset="0"/>
              <a:buNone/>
              <a:defRPr lang="id-ID" sz="2800" b="1" kern="0" spc="0" baseline="0" dirty="0">
                <a:solidFill>
                  <a:schemeClr val="bg1"/>
                </a:solidFill>
                <a:ea typeface="Roboto Medium" panose="02000000000000000000" pitchFamily="2" charset="0"/>
              </a:defRPr>
            </a:lvl1pPr>
          </a:lstStyle>
          <a:p>
            <a:pPr marL="0" lvl="0" indent="0"/>
            <a:r>
              <a:rPr lang="en-US" dirty="0"/>
              <a:t>Insert slide title here</a:t>
            </a:r>
          </a:p>
        </p:txBody>
      </p:sp>
      <p:sp>
        <p:nvSpPr>
          <p:cNvPr id="6" name="Text Placeholder 4"/>
          <p:cNvSpPr>
            <a:spLocks noGrp="1"/>
          </p:cNvSpPr>
          <p:nvPr>
            <p:ph type="body" sz="quarter" idx="16"/>
          </p:nvPr>
        </p:nvSpPr>
        <p:spPr>
          <a:xfrm>
            <a:off x="312788" y="771212"/>
            <a:ext cx="8524151" cy="170816"/>
          </a:xfrm>
        </p:spPr>
        <p:txBody>
          <a:bodyPr tIns="0"/>
          <a:lstStyle>
            <a:lvl1pPr marL="0" indent="0">
              <a:buNone/>
              <a:defRPr lang="en-US" sz="1100" kern="1200" spc="40" baseline="0" dirty="0" smtClean="0">
                <a:solidFill>
                  <a:schemeClr val="bg1"/>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dirty="0"/>
              <a:t>Click to edit Master text styles</a:t>
            </a:r>
          </a:p>
        </p:txBody>
      </p:sp>
    </p:spTree>
    <p:extLst>
      <p:ext uri="{BB962C8B-B14F-4D97-AF65-F5344CB8AC3E}">
        <p14:creationId xmlns:p14="http://schemas.microsoft.com/office/powerpoint/2010/main" val="31079509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ain Title Slide Photo">
    <p:spTree>
      <p:nvGrpSpPr>
        <p:cNvPr id="1" name=""/>
        <p:cNvGrpSpPr/>
        <p:nvPr/>
      </p:nvGrpSpPr>
      <p:grpSpPr>
        <a:xfrm>
          <a:off x="0" y="0"/>
          <a:ext cx="0" cy="0"/>
          <a:chOff x="0" y="0"/>
          <a:chExt cx="0" cy="0"/>
        </a:xfrm>
      </p:grpSpPr>
      <p:sp>
        <p:nvSpPr>
          <p:cNvPr id="20" name="Picture Placeholder 4"/>
          <p:cNvSpPr>
            <a:spLocks noGrp="1"/>
          </p:cNvSpPr>
          <p:nvPr>
            <p:ph type="pic" sz="quarter" idx="21"/>
          </p:nvPr>
        </p:nvSpPr>
        <p:spPr>
          <a:xfrm>
            <a:off x="0" y="0"/>
            <a:ext cx="9144000" cy="5143500"/>
          </a:xfrm>
          <a:prstGeom prst="rect">
            <a:avLst/>
          </a:prstGeom>
          <a:solidFill>
            <a:schemeClr val="bg1">
              <a:lumMod val="50000"/>
            </a:schemeClr>
          </a:solidFill>
        </p:spPr>
        <p:txBody>
          <a:bodyPr tIns="2926080"/>
          <a:lstStyle>
            <a:lvl1pPr marL="0" indent="0" algn="ctr">
              <a:buNone/>
              <a:defRPr sz="900" b="1" baseline="0">
                <a:gradFill>
                  <a:gsLst>
                    <a:gs pos="2419">
                      <a:schemeClr val="bg1"/>
                    </a:gs>
                    <a:gs pos="8000">
                      <a:schemeClr val="bg1"/>
                    </a:gs>
                  </a:gsLst>
                  <a:lin ang="5400000" scaled="0"/>
                </a:gradFill>
                <a:latin typeface="Arial" panose="020B0604020202020204" pitchFamily="34" charset="0"/>
                <a:cs typeface="Arial" panose="020B0604020202020204" pitchFamily="34" charset="0"/>
              </a:defRPr>
            </a:lvl1pPr>
          </a:lstStyle>
          <a:p>
            <a:pPr marL="0" lvl="0" indent="0" algn="ctr">
              <a:buNone/>
            </a:pPr>
            <a:r>
              <a:rPr lang="en-US"/>
              <a:t>Click icon to add picture</a:t>
            </a:r>
          </a:p>
        </p:txBody>
      </p:sp>
      <p:grpSp>
        <p:nvGrpSpPr>
          <p:cNvPr id="8" name="Group 7"/>
          <p:cNvGrpSpPr/>
          <p:nvPr userDrawn="1"/>
        </p:nvGrpSpPr>
        <p:grpSpPr>
          <a:xfrm>
            <a:off x="287792" y="4744879"/>
            <a:ext cx="8565013" cy="194357"/>
            <a:chOff x="304619" y="4744879"/>
            <a:chExt cx="8565013" cy="194357"/>
          </a:xfrm>
        </p:grpSpPr>
        <p:sp>
          <p:nvSpPr>
            <p:cNvPr id="9" name="TextBox 8"/>
            <p:cNvSpPr txBox="1"/>
            <p:nvPr/>
          </p:nvSpPr>
          <p:spPr>
            <a:xfrm>
              <a:off x="304619" y="4800737"/>
              <a:ext cx="592470" cy="138499"/>
            </a:xfrm>
            <a:prstGeom prst="rect">
              <a:avLst/>
            </a:prstGeom>
            <a:noFill/>
          </p:spPr>
          <p:txBody>
            <a:bodyPr wrap="none" lIns="0" bIns="0" rtlCol="0" anchor="b" anchorCtr="0">
              <a:spAutoFit/>
            </a:bodyPr>
            <a:lstStyle/>
            <a:p>
              <a:pPr defTabSz="685755"/>
              <a:r>
                <a:rPr lang="en-AU" sz="600" spc="75">
                  <a:gradFill>
                    <a:gsLst>
                      <a:gs pos="7258">
                        <a:schemeClr val="bg1"/>
                      </a:gs>
                      <a:gs pos="19000">
                        <a:schemeClr val="bg1"/>
                      </a:gs>
                    </a:gsLst>
                    <a:lin ang="5400000" scaled="1"/>
                  </a:gradFill>
                  <a:latin typeface="Arial" panose="020B0604020202020204" pitchFamily="34" charset="0"/>
                  <a:ea typeface="Roboto Light" panose="02000000000000000000" pitchFamily="2" charset="0"/>
                  <a:cs typeface="Arial" panose="020B0604020202020204" pitchFamily="34" charset="0"/>
                </a:rPr>
                <a:t>slalom.com</a:t>
              </a:r>
            </a:p>
          </p:txBody>
        </p:sp>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83832" y="4744879"/>
              <a:ext cx="685800" cy="178733"/>
            </a:xfrm>
            <a:prstGeom prst="rect">
              <a:avLst/>
            </a:prstGeom>
            <a:noFill/>
            <a:ln>
              <a:noFill/>
            </a:ln>
          </p:spPr>
        </p:pic>
      </p:grpSp>
      <p:sp>
        <p:nvSpPr>
          <p:cNvPr id="11" name="Title Placeholder 1"/>
          <p:cNvSpPr>
            <a:spLocks noGrp="1"/>
          </p:cNvSpPr>
          <p:nvPr>
            <p:ph type="title" hasCustomPrompt="1"/>
          </p:nvPr>
        </p:nvSpPr>
        <p:spPr>
          <a:xfrm>
            <a:off x="304800" y="1688951"/>
            <a:ext cx="8455026" cy="1162498"/>
          </a:xfrm>
          <a:prstGeom prst="rect">
            <a:avLst/>
          </a:prstGeom>
        </p:spPr>
        <p:txBody>
          <a:bodyPr vert="horz" lIns="0" tIns="45720" rIns="91440" bIns="45720" rtlCol="0" anchor="b">
            <a:noAutofit/>
          </a:bodyPr>
          <a:lstStyle>
            <a:lvl1pPr algn="l" defTabSz="685766" rtl="0" eaLnBrk="1" latinLnBrk="0" hangingPunct="1">
              <a:lnSpc>
                <a:spcPct val="90000"/>
              </a:lnSpc>
              <a:spcBef>
                <a:spcPct val="0"/>
              </a:spcBef>
              <a:buNone/>
              <a:defRPr lang="en-US" sz="3600" b="1" kern="1200" spc="-100" baseline="0" dirty="0">
                <a:gradFill>
                  <a:gsLst>
                    <a:gs pos="4839">
                      <a:schemeClr val="bg1"/>
                    </a:gs>
                    <a:gs pos="10000">
                      <a:schemeClr val="bg1"/>
                    </a:gs>
                  </a:gsLst>
                  <a:lin ang="5400000" scaled="1"/>
                </a:gradFill>
                <a:latin typeface="Arial" panose="020B0604020202020204" pitchFamily="34" charset="0"/>
                <a:ea typeface="Roboto Medium" panose="02000000000000000000" pitchFamily="2" charset="0"/>
                <a:cs typeface="Arial" panose="020B0604020202020204" pitchFamily="34" charset="0"/>
              </a:defRPr>
            </a:lvl1pPr>
          </a:lstStyle>
          <a:p>
            <a:r>
              <a:rPr lang="en-US" dirty="0"/>
              <a:t>Insert title here. </a:t>
            </a:r>
          </a:p>
        </p:txBody>
      </p:sp>
      <p:sp>
        <p:nvSpPr>
          <p:cNvPr id="14" name="Text Placeholder 10"/>
          <p:cNvSpPr>
            <a:spLocks noGrp="1"/>
          </p:cNvSpPr>
          <p:nvPr>
            <p:ph type="body" sz="quarter" idx="15" hasCustomPrompt="1"/>
          </p:nvPr>
        </p:nvSpPr>
        <p:spPr>
          <a:xfrm>
            <a:off x="313932" y="2963121"/>
            <a:ext cx="8445894" cy="232819"/>
          </a:xfrm>
        </p:spPr>
        <p:txBody>
          <a:bodyPr lIns="0" tIns="0" rIns="0" bIns="0">
            <a:noAutofit/>
          </a:bodyPr>
          <a:lstStyle>
            <a:lvl1pPr mar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defRPr lang="en-US" sz="1100" b="0" kern="1200" spc="50" baseline="0" dirty="0">
                <a:gradFill>
                  <a:gsLst>
                    <a:gs pos="7258">
                      <a:srgbClr val="FFFFFF"/>
                    </a:gs>
                    <a:gs pos="19000">
                      <a:srgbClr val="FFFFFF"/>
                    </a:gs>
                  </a:gsLst>
                  <a:lin ang="5400000" scaled="1"/>
                </a:gradFill>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pPr>
            <a:r>
              <a:rPr lang="en-US" dirty="0"/>
              <a:t>This is a title slide. Do not use this for content slides. </a:t>
            </a:r>
          </a:p>
        </p:txBody>
      </p:sp>
      <p:sp>
        <p:nvSpPr>
          <p:cNvPr id="15" name="Text Placeholder 10"/>
          <p:cNvSpPr>
            <a:spLocks noGrp="1"/>
          </p:cNvSpPr>
          <p:nvPr>
            <p:ph type="body" sz="quarter" idx="22" hasCustomPrompt="1"/>
          </p:nvPr>
        </p:nvSpPr>
        <p:spPr>
          <a:xfrm>
            <a:off x="313932" y="3313367"/>
            <a:ext cx="8445894" cy="208271"/>
          </a:xfrm>
        </p:spPr>
        <p:txBody>
          <a:bodyPr lIns="0" tIns="0" rIns="0" bIns="0">
            <a:normAutofit/>
          </a:bodyPr>
          <a:lstStyle>
            <a:lvl1pPr marL="0" indent="0" algn="l">
              <a:buNone/>
              <a:defRPr sz="900" b="0" kern="0" spc="38" baseline="0">
                <a:solidFill>
                  <a:schemeClr val="bg1"/>
                </a:solidFill>
                <a:latin typeface="Arial" panose="020B0604020202020204" pitchFamily="34" charset="0"/>
                <a:ea typeface="Roboto Light" panose="02000000000000000000" pitchFamily="2" charset="0"/>
                <a:cs typeface="Arial" panose="020B0604020202020204" pitchFamily="34" charset="0"/>
              </a:defRPr>
            </a:lvl1pPr>
          </a:lstStyle>
          <a:p>
            <a:pPr lvl="0"/>
            <a:r>
              <a:rPr lang="en-US" dirty="0"/>
              <a:t>Date</a:t>
            </a:r>
          </a:p>
        </p:txBody>
      </p:sp>
    </p:spTree>
    <p:extLst>
      <p:ext uri="{BB962C8B-B14F-4D97-AF65-F5344CB8AC3E}">
        <p14:creationId xmlns:p14="http://schemas.microsoft.com/office/powerpoint/2010/main" val="20936669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Divider Blue">
    <p:bg>
      <p:bgPr>
        <a:solidFill>
          <a:schemeClr val="accent2"/>
        </a:solidFill>
        <a:effectLst/>
      </p:bgPr>
    </p:bg>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a:xfrm>
            <a:off x="304800" y="1584176"/>
            <a:ext cx="8455026" cy="1162498"/>
          </a:xfrm>
          <a:prstGeom prst="rect">
            <a:avLst/>
          </a:prstGeom>
        </p:spPr>
        <p:txBody>
          <a:bodyPr vert="horz" lIns="0" tIns="45720" rIns="91440" bIns="45720" rtlCol="0" anchor="b">
            <a:noAutofit/>
          </a:bodyPr>
          <a:lstStyle>
            <a:lvl1pPr algn="l" defTabSz="685766" rtl="0" eaLnBrk="1" latinLnBrk="0" hangingPunct="1">
              <a:lnSpc>
                <a:spcPct val="90000"/>
              </a:lnSpc>
              <a:spcBef>
                <a:spcPct val="0"/>
              </a:spcBef>
              <a:buNone/>
              <a:defRPr lang="en-US" sz="3600" b="1" kern="1200" spc="-100" baseline="0" dirty="0">
                <a:gradFill>
                  <a:gsLst>
                    <a:gs pos="4839">
                      <a:schemeClr val="bg1"/>
                    </a:gs>
                    <a:gs pos="10000">
                      <a:schemeClr val="bg1"/>
                    </a:gs>
                  </a:gsLst>
                  <a:lin ang="5400000" scaled="1"/>
                </a:gradFill>
                <a:latin typeface="Arial" panose="020B0604020202020204" pitchFamily="34" charset="0"/>
                <a:ea typeface="Roboto Medium" panose="02000000000000000000" pitchFamily="2" charset="0"/>
                <a:cs typeface="Arial" panose="020B0604020202020204" pitchFamily="34" charset="0"/>
              </a:defRPr>
            </a:lvl1pPr>
          </a:lstStyle>
          <a:p>
            <a:r>
              <a:rPr lang="en-US" dirty="0"/>
              <a:t>Insert title here. </a:t>
            </a:r>
          </a:p>
        </p:txBody>
      </p:sp>
      <p:sp>
        <p:nvSpPr>
          <p:cNvPr id="7" name="Text Placeholder 10"/>
          <p:cNvSpPr>
            <a:spLocks noGrp="1"/>
          </p:cNvSpPr>
          <p:nvPr>
            <p:ph type="body" sz="quarter" idx="15" hasCustomPrompt="1"/>
          </p:nvPr>
        </p:nvSpPr>
        <p:spPr>
          <a:xfrm>
            <a:off x="313932" y="2792672"/>
            <a:ext cx="8445894" cy="232819"/>
          </a:xfrm>
        </p:spPr>
        <p:txBody>
          <a:bodyPr lIns="0" tIns="0" rIns="0" bIns="0">
            <a:noAutofit/>
          </a:bodyPr>
          <a:lstStyle>
            <a:lvl1pPr mar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defRPr lang="en-US" sz="1100" b="0" kern="1200" spc="50" baseline="0" dirty="0">
                <a:gradFill>
                  <a:gsLst>
                    <a:gs pos="7258">
                      <a:srgbClr val="FFFFFF"/>
                    </a:gs>
                    <a:gs pos="19000">
                      <a:srgbClr val="FFFFFF"/>
                    </a:gs>
                  </a:gsLst>
                  <a:lin ang="5400000" scaled="1"/>
                </a:gradFill>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pPr>
            <a:r>
              <a:rPr lang="en-US" dirty="0"/>
              <a:t>This is a section divider. Do not use this for content slides. </a:t>
            </a:r>
          </a:p>
        </p:txBody>
      </p:sp>
    </p:spTree>
    <p:extLst>
      <p:ext uri="{BB962C8B-B14F-4D97-AF65-F5344CB8AC3E}">
        <p14:creationId xmlns:p14="http://schemas.microsoft.com/office/powerpoint/2010/main" val="24831031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Divider White">
    <p:bg>
      <p:bgRef idx="1001">
        <a:schemeClr val="bg1"/>
      </p:bgRef>
    </p:bg>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a:xfrm>
            <a:off x="304800" y="1584176"/>
            <a:ext cx="8455026" cy="1162498"/>
          </a:xfrm>
          <a:prstGeom prst="rect">
            <a:avLst/>
          </a:prstGeom>
        </p:spPr>
        <p:txBody>
          <a:bodyPr vert="horz" lIns="0" tIns="45720" rIns="91440" bIns="45720" rtlCol="0" anchor="b">
            <a:noAutofit/>
          </a:bodyPr>
          <a:lstStyle>
            <a:lvl1pPr algn="l" defTabSz="685766" rtl="0" eaLnBrk="1" latinLnBrk="0" hangingPunct="1">
              <a:lnSpc>
                <a:spcPct val="90000"/>
              </a:lnSpc>
              <a:spcBef>
                <a:spcPct val="0"/>
              </a:spcBef>
              <a:buNone/>
              <a:defRPr lang="en-US" sz="3600" b="1" kern="1200" spc="-100" baseline="0" dirty="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r>
              <a:rPr lang="en-US" dirty="0"/>
              <a:t>Insert title here. </a:t>
            </a:r>
          </a:p>
        </p:txBody>
      </p:sp>
      <p:sp>
        <p:nvSpPr>
          <p:cNvPr id="6" name="Text Placeholder 10"/>
          <p:cNvSpPr>
            <a:spLocks noGrp="1"/>
          </p:cNvSpPr>
          <p:nvPr>
            <p:ph type="body" sz="quarter" idx="15" hasCustomPrompt="1"/>
          </p:nvPr>
        </p:nvSpPr>
        <p:spPr>
          <a:xfrm>
            <a:off x="313932" y="2792672"/>
            <a:ext cx="8445894" cy="232819"/>
          </a:xfrm>
        </p:spPr>
        <p:txBody>
          <a:bodyPr lIns="0" tIns="0" rIns="0" bIns="0">
            <a:noAutofit/>
          </a:bodyPr>
          <a:lstStyle>
            <a:lvl1pPr mar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defRPr lang="en-US" sz="1100" b="0" kern="1200" spc="50" baseline="0" dirty="0">
                <a:solidFill>
                  <a:schemeClr val="tx1"/>
                </a:solidFill>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pPr>
            <a:r>
              <a:rPr lang="en-US" dirty="0"/>
              <a:t>This is a section divider. Do not use this for content slides. </a:t>
            </a:r>
          </a:p>
        </p:txBody>
      </p:sp>
      <p:sp>
        <p:nvSpPr>
          <p:cNvPr id="4" name="TextBox 3"/>
          <p:cNvSpPr txBox="1"/>
          <p:nvPr userDrawn="1"/>
        </p:nvSpPr>
        <p:spPr>
          <a:xfrm>
            <a:off x="304800" y="4800737"/>
            <a:ext cx="592470" cy="138499"/>
          </a:xfrm>
          <a:prstGeom prst="rect">
            <a:avLst/>
          </a:prstGeom>
          <a:noFill/>
        </p:spPr>
        <p:txBody>
          <a:bodyPr wrap="none" lIns="0" bIns="0" rtlCol="0" anchor="b" anchorCtr="0">
            <a:spAutoFit/>
          </a:bodyPr>
          <a:lstStyle/>
          <a:p>
            <a:pPr defTabSz="685755"/>
            <a:r>
              <a:rPr lang="en-AU" sz="600" spc="75">
                <a:gradFill>
                  <a:gsLst>
                    <a:gs pos="7258">
                      <a:schemeClr val="accent2"/>
                    </a:gs>
                    <a:gs pos="19000">
                      <a:schemeClr val="accent2"/>
                    </a:gs>
                  </a:gsLst>
                  <a:lin ang="5400000" scaled="1"/>
                </a:gradFill>
                <a:latin typeface="Arial" panose="020B0604020202020204" pitchFamily="34" charset="0"/>
                <a:ea typeface="Roboto Light" panose="02000000000000000000" pitchFamily="2" charset="0"/>
                <a:cs typeface="Arial" panose="020B0604020202020204" pitchFamily="34" charset="0"/>
              </a:rPr>
              <a:t>slalom.com</a:t>
            </a:r>
          </a:p>
        </p:txBody>
      </p:sp>
    </p:spTree>
    <p:extLst>
      <p:ext uri="{BB962C8B-B14F-4D97-AF65-F5344CB8AC3E}">
        <p14:creationId xmlns:p14="http://schemas.microsoft.com/office/powerpoint/2010/main" val="697379860"/>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hoto">
    <p:bg>
      <p:bgPr>
        <a:solidFill>
          <a:srgbClr val="FFFFFF"/>
        </a:solidFill>
        <a:effectLst/>
      </p:bgPr>
    </p:bg>
    <p:spTree>
      <p:nvGrpSpPr>
        <p:cNvPr id="1" name=""/>
        <p:cNvGrpSpPr/>
        <p:nvPr/>
      </p:nvGrpSpPr>
      <p:grpSpPr>
        <a:xfrm>
          <a:off x="0" y="0"/>
          <a:ext cx="0" cy="0"/>
          <a:chOff x="0" y="0"/>
          <a:chExt cx="0" cy="0"/>
        </a:xfrm>
      </p:grpSpPr>
      <p:sp>
        <p:nvSpPr>
          <p:cNvPr id="9" name="Picture Placeholder 4"/>
          <p:cNvSpPr>
            <a:spLocks noGrp="1"/>
          </p:cNvSpPr>
          <p:nvPr>
            <p:ph type="pic" sz="quarter" idx="21"/>
          </p:nvPr>
        </p:nvSpPr>
        <p:spPr>
          <a:xfrm>
            <a:off x="0" y="0"/>
            <a:ext cx="9144000" cy="5143500"/>
          </a:xfrm>
          <a:prstGeom prst="rect">
            <a:avLst/>
          </a:prstGeom>
          <a:solidFill>
            <a:schemeClr val="bg1">
              <a:lumMod val="50000"/>
            </a:schemeClr>
          </a:solidFill>
        </p:spPr>
        <p:txBody>
          <a:bodyPr tIns="3383280"/>
          <a:lstStyle>
            <a:lvl1pPr marL="0" indent="0" algn="ctr">
              <a:buNone/>
              <a:defRPr sz="900" b="1" baseline="0">
                <a:gradFill>
                  <a:gsLst>
                    <a:gs pos="2419">
                      <a:schemeClr val="bg1"/>
                    </a:gs>
                    <a:gs pos="8000">
                      <a:schemeClr val="bg1"/>
                    </a:gs>
                  </a:gsLst>
                  <a:lin ang="5400000" scaled="0"/>
                </a:gradFill>
                <a:latin typeface="Arial" panose="020B0604020202020204" pitchFamily="34" charset="0"/>
                <a:cs typeface="Arial" panose="020B0604020202020204" pitchFamily="34" charset="0"/>
              </a:defRPr>
            </a:lvl1pPr>
          </a:lstStyle>
          <a:p>
            <a:pPr marL="0" lvl="0" indent="0" algn="ctr">
              <a:buNone/>
            </a:pPr>
            <a:r>
              <a:rPr lang="en-US"/>
              <a:t>Click icon to add picture</a:t>
            </a:r>
          </a:p>
        </p:txBody>
      </p:sp>
      <p:sp>
        <p:nvSpPr>
          <p:cNvPr id="7" name="Slide Number Placeholder 5"/>
          <p:cNvSpPr>
            <a:spLocks noGrp="1"/>
          </p:cNvSpPr>
          <p:nvPr>
            <p:ph type="sldNum" sz="quarter" idx="12"/>
          </p:nvPr>
        </p:nvSpPr>
        <p:spPr>
          <a:xfrm>
            <a:off x="8533335" y="4838589"/>
            <a:ext cx="323309" cy="201168"/>
          </a:xfrm>
          <a:prstGeom prst="rect">
            <a:avLst/>
          </a:prstGeom>
        </p:spPr>
        <p:txBody>
          <a:bodyPr lIns="0" tIns="0" rIns="0" bIns="0"/>
          <a:lstStyle>
            <a:lvl1pPr algn="r">
              <a:defRPr sz="600">
                <a:gradFill>
                  <a:gsLst>
                    <a:gs pos="7258">
                      <a:schemeClr val="bg1"/>
                    </a:gs>
                    <a:gs pos="19000">
                      <a:schemeClr val="bg1"/>
                    </a:gs>
                  </a:gsLst>
                  <a:lin ang="5400000" scaled="1"/>
                </a:gradFill>
                <a:latin typeface="Arial" panose="020B0604020202020204" pitchFamily="34" charset="0"/>
                <a:ea typeface="Roboto Light" panose="02000000000000000000" pitchFamily="2" charset="0"/>
                <a:cs typeface="Arial" panose="020B0604020202020204" pitchFamily="34" charset="0"/>
              </a:defRPr>
            </a:lvl1pPr>
          </a:lstStyle>
          <a:p>
            <a:fld id="{FCEE2C88-6C8F-484D-AF69-578F576B1F44}" type="slidenum">
              <a:rPr lang="en-US" smtClean="0"/>
              <a:pPr/>
              <a:t>‹#›</a:t>
            </a:fld>
            <a:endParaRPr lang="en-US"/>
          </a:p>
        </p:txBody>
      </p:sp>
      <p:sp>
        <p:nvSpPr>
          <p:cNvPr id="8" name="TextBox 7"/>
          <p:cNvSpPr txBox="1"/>
          <p:nvPr userDrawn="1"/>
        </p:nvSpPr>
        <p:spPr>
          <a:xfrm>
            <a:off x="304619" y="4800737"/>
            <a:ext cx="592470" cy="138499"/>
          </a:xfrm>
          <a:prstGeom prst="rect">
            <a:avLst/>
          </a:prstGeom>
          <a:noFill/>
        </p:spPr>
        <p:txBody>
          <a:bodyPr wrap="none" lIns="0" bIns="0" rtlCol="0" anchor="b" anchorCtr="0">
            <a:spAutoFit/>
          </a:bodyPr>
          <a:lstStyle/>
          <a:p>
            <a:pPr marL="0" algn="l" defTabSz="685755" rtl="0" eaLnBrk="1" latinLnBrk="0" hangingPunct="1"/>
            <a:r>
              <a:rPr lang="en-AU" sz="600" kern="1200" spc="75" baseline="0">
                <a:gradFill>
                  <a:gsLst>
                    <a:gs pos="7258">
                      <a:schemeClr val="bg1"/>
                    </a:gs>
                    <a:gs pos="19000">
                      <a:schemeClr val="bg1"/>
                    </a:gs>
                  </a:gsLst>
                  <a:lin ang="5400000" scaled="1"/>
                </a:gradFill>
                <a:latin typeface="Arial" panose="020B0604020202020204" pitchFamily="34" charset="0"/>
                <a:ea typeface="Roboto Light" panose="02000000000000000000" pitchFamily="2" charset="0"/>
                <a:cs typeface="Arial" panose="020B0604020202020204" pitchFamily="34" charset="0"/>
              </a:rPr>
              <a:t>slalom.com</a:t>
            </a:r>
          </a:p>
        </p:txBody>
      </p:sp>
      <p:sp>
        <p:nvSpPr>
          <p:cNvPr id="6" name="Title Placeholder 1"/>
          <p:cNvSpPr>
            <a:spLocks noGrp="1"/>
          </p:cNvSpPr>
          <p:nvPr>
            <p:ph type="title" hasCustomPrompt="1"/>
          </p:nvPr>
        </p:nvSpPr>
        <p:spPr>
          <a:xfrm>
            <a:off x="378844" y="1230086"/>
            <a:ext cx="8380982" cy="1456054"/>
          </a:xfrm>
          <a:prstGeom prst="rect">
            <a:avLst/>
          </a:prstGeom>
        </p:spPr>
        <p:txBody>
          <a:bodyPr vert="horz" lIns="0" tIns="45720" rIns="91440" bIns="45720" rtlCol="0" anchor="b">
            <a:noAutofit/>
          </a:bodyPr>
          <a:lstStyle>
            <a:lvl1pPr marL="0" indent="0" algn="ctr" defTabSz="685766" rtl="0" eaLnBrk="1" latinLnBrk="0" hangingPunct="1">
              <a:lnSpc>
                <a:spcPct val="100000"/>
              </a:lnSpc>
              <a:spcBef>
                <a:spcPct val="0"/>
              </a:spcBef>
              <a:buNone/>
              <a:defRPr lang="en-US" sz="2400" b="0" kern="1200" spc="0" baseline="0">
                <a:gradFill>
                  <a:gsLst>
                    <a:gs pos="4839">
                      <a:schemeClr val="bg1"/>
                    </a:gs>
                    <a:gs pos="10000">
                      <a:schemeClr val="bg1"/>
                    </a:gs>
                  </a:gsLst>
                  <a:lin ang="5400000" scaled="1"/>
                </a:gradFill>
                <a:latin typeface="Arial" panose="020B0604020202020204" pitchFamily="34" charset="0"/>
                <a:ea typeface="Roboto Medium" panose="02000000000000000000" pitchFamily="2" charset="0"/>
                <a:cs typeface="Arial" panose="020B0604020202020204" pitchFamily="34" charset="0"/>
              </a:defRPr>
            </a:lvl1pPr>
          </a:lstStyle>
          <a:p>
            <a:pPr marL="0" indent="0" algn="ctr" defTabSz="685766">
              <a:lnSpc>
                <a:spcPct val="100000"/>
              </a:lnSpc>
              <a:spcBef>
                <a:spcPct val="0"/>
              </a:spcBef>
              <a:buNone/>
              <a:defRPr/>
            </a:pPr>
            <a:r>
              <a:rPr lang="en-US" sz="2400" kern="1200" spc="-38" dirty="0">
                <a:gradFill>
                  <a:gsLst>
                    <a:gs pos="4839">
                      <a:srgbClr val="FFFFFF"/>
                    </a:gs>
                    <a:gs pos="10000">
                      <a:srgbClr val="FFFFFF"/>
                    </a:gs>
                  </a:gsLst>
                  <a:lin ang="5400000" scaled="1"/>
                </a:gradFill>
                <a:latin typeface="Arial" panose="020B0604020202020204" pitchFamily="34" charset="0"/>
                <a:ea typeface="Roboto Medium" panose="02000000000000000000" pitchFamily="2" charset="0"/>
                <a:cs typeface="Arial" panose="020B0604020202020204" pitchFamily="34" charset="0"/>
              </a:rPr>
              <a:t>Summarize your agenda</a:t>
            </a:r>
            <a:br>
              <a:rPr lang="en-US" sz="2400" kern="1200" spc="-38" dirty="0">
                <a:gradFill>
                  <a:gsLst>
                    <a:gs pos="4839">
                      <a:srgbClr val="FFFFFF"/>
                    </a:gs>
                    <a:gs pos="10000">
                      <a:srgbClr val="FFFFFF"/>
                    </a:gs>
                  </a:gsLst>
                  <a:lin ang="5400000" scaled="1"/>
                </a:gradFill>
                <a:latin typeface="Arial" panose="020B0604020202020204" pitchFamily="34" charset="0"/>
                <a:ea typeface="Roboto Medium" panose="02000000000000000000" pitchFamily="2" charset="0"/>
                <a:cs typeface="Arial" panose="020B0604020202020204" pitchFamily="34" charset="0"/>
              </a:rPr>
            </a:br>
            <a:r>
              <a:rPr lang="en-US" sz="2400" kern="1200" spc="-38" dirty="0">
                <a:gradFill>
                  <a:gsLst>
                    <a:gs pos="4839">
                      <a:srgbClr val="FFFFFF"/>
                    </a:gs>
                    <a:gs pos="10000">
                      <a:srgbClr val="FFFFFF"/>
                    </a:gs>
                  </a:gsLst>
                  <a:lin ang="5400000" scaled="1"/>
                </a:gradFill>
                <a:latin typeface="Arial" panose="020B0604020202020204" pitchFamily="34" charset="0"/>
                <a:ea typeface="Roboto Medium" panose="02000000000000000000" pitchFamily="2" charset="0"/>
                <a:cs typeface="Arial" panose="020B0604020202020204" pitchFamily="34" charset="0"/>
              </a:rPr>
              <a:t>Keep it focused on the client!</a:t>
            </a:r>
          </a:p>
        </p:txBody>
      </p:sp>
      <p:sp>
        <p:nvSpPr>
          <p:cNvPr id="10" name="Text Placeholder 10"/>
          <p:cNvSpPr>
            <a:spLocks noGrp="1"/>
          </p:cNvSpPr>
          <p:nvPr>
            <p:ph type="body" sz="quarter" idx="15" hasCustomPrompt="1"/>
          </p:nvPr>
        </p:nvSpPr>
        <p:spPr>
          <a:xfrm>
            <a:off x="387895" y="2735036"/>
            <a:ext cx="8371929" cy="559377"/>
          </a:xfrm>
        </p:spPr>
        <p:txBody>
          <a:bodyPr lIns="0" tIns="0" rIns="0" bIns="0">
            <a:normAutofit/>
          </a:bodyPr>
          <a:lstStyle>
            <a:lvl1pPr marL="0" indent="0" algn="ctr" defTabSz="914400" rtl="0" eaLnBrk="1" latinLnBrk="0" hangingPunct="1">
              <a:lnSpc>
                <a:spcPct val="130000"/>
              </a:lnSpc>
              <a:spcBef>
                <a:spcPts val="0"/>
              </a:spcBef>
              <a:spcAft>
                <a:spcPts val="75"/>
              </a:spcAft>
              <a:buFont typeface="Arial" panose="020B0604020202020204" pitchFamily="34" charset="0"/>
              <a:buNone/>
              <a:defRPr lang="en-US" sz="1000" kern="1200">
                <a:solidFill>
                  <a:schemeClr val="bg1"/>
                </a:solidFill>
                <a:latin typeface="Arial" panose="020B0604020202020204" pitchFamily="34" charset="0"/>
                <a:cs typeface="Arial" panose="020B0604020202020204" pitchFamily="34" charset="0"/>
              </a:defRPr>
            </a:lvl1pPr>
          </a:lstStyle>
          <a:p>
            <a:pPr marL="0" indent="0" algn="ctr" defTabSz="914400" rtl="0" eaLnBrk="1" latinLnBrk="0" hangingPunct="1">
              <a:lnSpc>
                <a:spcPct val="130000"/>
              </a:lnSpc>
              <a:spcBef>
                <a:spcPts val="0"/>
              </a:spcBef>
              <a:spcAft>
                <a:spcPts val="75"/>
              </a:spcAft>
              <a:buFont typeface="Arial" panose="020B0604020202020204" pitchFamily="34" charset="0"/>
              <a:buNone/>
              <a:defRPr/>
            </a:pPr>
            <a:r>
              <a:rPr lang="en-US" sz="900" kern="1200" dirty="0" err="1">
                <a:gradFill>
                  <a:gsLst>
                    <a:gs pos="7258">
                      <a:srgbClr val="FFFFFF"/>
                    </a:gs>
                    <a:gs pos="19000">
                      <a:srgbClr val="FFFFFF"/>
                    </a:gs>
                  </a:gsLst>
                  <a:lin ang="5400000" scaled="1"/>
                </a:gradFill>
                <a:latin typeface="Arial" panose="020B0604020202020204" pitchFamily="34" charset="0"/>
                <a:ea typeface="+mn-ea"/>
                <a:cs typeface="Arial" panose="020B0604020202020204" pitchFamily="34" charset="0"/>
              </a:rPr>
              <a:t>YourCo</a:t>
            </a:r>
            <a:r>
              <a:rPr lang="en-US" sz="900" kern="1200" dirty="0">
                <a:gradFill>
                  <a:gsLst>
                    <a:gs pos="7258">
                      <a:srgbClr val="FFFFFF"/>
                    </a:gs>
                    <a:gs pos="19000">
                      <a:srgbClr val="FFFFFF"/>
                    </a:gs>
                  </a:gsLst>
                  <a:lin ang="5400000" scaled="1"/>
                </a:gradFill>
                <a:latin typeface="Arial" panose="020B0604020202020204" pitchFamily="34" charset="0"/>
                <a:ea typeface="+mn-ea"/>
                <a:cs typeface="Arial" panose="020B0604020202020204" pitchFamily="34" charset="0"/>
              </a:rPr>
              <a:t> is preparing to move its sales, marketing, and support operations to Salesforce. </a:t>
            </a:r>
          </a:p>
          <a:p>
            <a:pPr marL="0" indent="0" algn="ctr" defTabSz="914400" rtl="0" eaLnBrk="1" latinLnBrk="0" hangingPunct="1">
              <a:lnSpc>
                <a:spcPct val="130000"/>
              </a:lnSpc>
              <a:spcBef>
                <a:spcPts val="0"/>
              </a:spcBef>
              <a:spcAft>
                <a:spcPts val="75"/>
              </a:spcAft>
              <a:buFont typeface="Arial" panose="020B0604020202020204" pitchFamily="34" charset="0"/>
              <a:buNone/>
              <a:defRPr/>
            </a:pPr>
            <a:r>
              <a:rPr lang="en-US" sz="900" kern="1200" dirty="0">
                <a:gradFill>
                  <a:gsLst>
                    <a:gs pos="7258">
                      <a:srgbClr val="FFFFFF"/>
                    </a:gs>
                    <a:gs pos="19000">
                      <a:srgbClr val="FFFFFF"/>
                    </a:gs>
                  </a:gsLst>
                  <a:lin ang="5400000" scaled="1"/>
                </a:gradFill>
                <a:latin typeface="Arial" panose="020B0604020202020204" pitchFamily="34" charset="0"/>
                <a:ea typeface="+mn-ea"/>
                <a:cs typeface="Arial" panose="020B0604020202020204" pitchFamily="34" charset="0"/>
              </a:rPr>
              <a:t>We’re here to discuss this opportunity to move customers to the center of your business.</a:t>
            </a:r>
          </a:p>
        </p:txBody>
      </p:sp>
    </p:spTree>
    <p:extLst>
      <p:ext uri="{BB962C8B-B14F-4D97-AF65-F5344CB8AC3E}">
        <p14:creationId xmlns:p14="http://schemas.microsoft.com/office/powerpoint/2010/main" val="2311633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White Backgroun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8533335" y="4838589"/>
            <a:ext cx="323309" cy="201168"/>
          </a:xfrm>
          <a:prstGeom prst="rect">
            <a:avLst/>
          </a:prstGeom>
        </p:spPr>
        <p:txBody>
          <a:bodyPr lIns="0" tIns="0" rIns="0" bIns="0"/>
          <a:lstStyle>
            <a:lvl1pPr algn="r">
              <a:defRPr sz="600">
                <a:solidFill>
                  <a:schemeClr val="accent2"/>
                </a:solidFill>
                <a:latin typeface="Arial" panose="020B0604020202020204" pitchFamily="34" charset="0"/>
                <a:ea typeface="Roboto Light" panose="02000000000000000000" pitchFamily="2" charset="0"/>
                <a:cs typeface="Arial" panose="020B0604020202020204" pitchFamily="34" charset="0"/>
              </a:defRPr>
            </a:lvl1pPr>
          </a:lstStyle>
          <a:p>
            <a:fld id="{FCEE2C88-6C8F-484D-AF69-578F576B1F44}" type="slidenum">
              <a:rPr lang="en-US" smtClean="0"/>
              <a:pPr/>
              <a:t>‹#›</a:t>
            </a:fld>
            <a:endParaRPr lang="en-US"/>
          </a:p>
        </p:txBody>
      </p:sp>
      <p:sp>
        <p:nvSpPr>
          <p:cNvPr id="4" name="Text Placeholder 3"/>
          <p:cNvSpPr>
            <a:spLocks noGrp="1"/>
          </p:cNvSpPr>
          <p:nvPr>
            <p:ph type="body" sz="quarter" idx="13" hasCustomPrompt="1"/>
          </p:nvPr>
        </p:nvSpPr>
        <p:spPr>
          <a:xfrm>
            <a:off x="390525" y="1219199"/>
            <a:ext cx="8369300" cy="1464129"/>
          </a:xfrm>
        </p:spPr>
        <p:txBody>
          <a:bodyPr anchor="b">
            <a:noAutofit/>
          </a:bodyPr>
          <a:lstStyle>
            <a:lvl1pPr marL="0" indent="0" algn="ctr">
              <a:lnSpc>
                <a:spcPct val="100000"/>
              </a:lnSpc>
              <a:spcBef>
                <a:spcPts val="0"/>
              </a:spcBef>
              <a:buNone/>
              <a:defRPr sz="2400" spc="-40" baseline="0">
                <a:solidFill>
                  <a:schemeClr val="tx1"/>
                </a:solidFill>
              </a:defRPr>
            </a:lvl1pPr>
            <a:lvl2pPr marL="173037" indent="0" algn="ctr">
              <a:buNone/>
              <a:defRPr sz="2400">
                <a:solidFill>
                  <a:schemeClr val="tx1"/>
                </a:solidFill>
              </a:defRPr>
            </a:lvl2pPr>
            <a:lvl3pPr marL="323850" indent="0" algn="ctr">
              <a:buNone/>
              <a:defRPr sz="2400">
                <a:solidFill>
                  <a:schemeClr val="tx1"/>
                </a:solidFill>
              </a:defRPr>
            </a:lvl3pPr>
            <a:lvl4pPr marL="457200" indent="0" algn="ctr">
              <a:buNone/>
              <a:defRPr sz="2400">
                <a:solidFill>
                  <a:schemeClr val="tx1"/>
                </a:solidFill>
              </a:defRPr>
            </a:lvl4pPr>
            <a:lvl5pPr marL="593725" indent="0" algn="ctr">
              <a:buNone/>
              <a:defRPr sz="2400">
                <a:solidFill>
                  <a:schemeClr val="tx1"/>
                </a:solidFill>
              </a:defRPr>
            </a:lvl5pPr>
          </a:lstStyle>
          <a:p>
            <a:pPr lvl="0"/>
            <a:r>
              <a:rPr lang="en-US" dirty="0"/>
              <a:t>Summarize your agenda</a:t>
            </a:r>
          </a:p>
          <a:p>
            <a:pPr lvl="0"/>
            <a:r>
              <a:rPr lang="en-US" dirty="0"/>
              <a:t>Keep it focused on the client!</a:t>
            </a:r>
          </a:p>
        </p:txBody>
      </p:sp>
      <p:sp>
        <p:nvSpPr>
          <p:cNvPr id="13" name="Text Placeholder 12"/>
          <p:cNvSpPr>
            <a:spLocks noGrp="1"/>
          </p:cNvSpPr>
          <p:nvPr>
            <p:ph type="body" sz="quarter" idx="14" hasCustomPrompt="1"/>
          </p:nvPr>
        </p:nvSpPr>
        <p:spPr>
          <a:xfrm>
            <a:off x="390525" y="2732046"/>
            <a:ext cx="8369300" cy="585288"/>
          </a:xfrm>
        </p:spPr>
        <p:txBody>
          <a:bodyPr/>
          <a:lstStyle>
            <a:lvl1pPr marL="0" indent="0" algn="ctr" defTabSz="914400" rtl="0" eaLnBrk="1" latinLnBrk="0" hangingPunct="1">
              <a:lnSpc>
                <a:spcPct val="130000"/>
              </a:lnSpc>
              <a:spcBef>
                <a:spcPts val="0"/>
              </a:spcBef>
              <a:spcAft>
                <a:spcPts val="75"/>
              </a:spcAft>
              <a:buFont typeface="Arial" panose="020B0604020202020204" pitchFamily="34" charset="0"/>
              <a:buNone/>
              <a:defRPr sz="1000" baseline="0"/>
            </a:lvl1pPr>
          </a:lstStyle>
          <a:p>
            <a:pPr marL="0" indent="0" algn="ctr" defTabSz="914400" rtl="0" eaLnBrk="1" latinLnBrk="0" hangingPunct="1">
              <a:lnSpc>
                <a:spcPct val="130000"/>
              </a:lnSpc>
              <a:spcBef>
                <a:spcPts val="0"/>
              </a:spcBef>
              <a:spcAft>
                <a:spcPts val="75"/>
              </a:spcAft>
              <a:buFont typeface="Arial" panose="020B0604020202020204" pitchFamily="34" charset="0"/>
              <a:buNone/>
              <a:defRPr/>
            </a:pPr>
            <a:r>
              <a:rPr lang="en-US" sz="1200" kern="1200" dirty="0" err="1">
                <a:solidFill>
                  <a:schemeClr val="tx1"/>
                </a:solidFill>
                <a:latin typeface="Arial" panose="020B0604020202020204" pitchFamily="34" charset="0"/>
                <a:ea typeface="+mn-ea"/>
                <a:cs typeface="Arial" panose="020B0604020202020204" pitchFamily="34" charset="0"/>
              </a:rPr>
              <a:t>YourCo</a:t>
            </a:r>
            <a:r>
              <a:rPr lang="en-US" sz="1200" kern="1200" dirty="0">
                <a:solidFill>
                  <a:schemeClr val="tx1"/>
                </a:solidFill>
                <a:latin typeface="Arial" panose="020B0604020202020204" pitchFamily="34" charset="0"/>
                <a:ea typeface="+mn-ea"/>
                <a:cs typeface="Arial" panose="020B0604020202020204" pitchFamily="34" charset="0"/>
              </a:rPr>
              <a:t> is preparing to move its sales, marketing, and support operations to Salesforce. </a:t>
            </a:r>
          </a:p>
          <a:p>
            <a:pPr marL="0" indent="0" algn="ctr" defTabSz="914400" rtl="0" eaLnBrk="1" latinLnBrk="0" hangingPunct="1">
              <a:lnSpc>
                <a:spcPct val="130000"/>
              </a:lnSpc>
              <a:spcBef>
                <a:spcPts val="0"/>
              </a:spcBef>
              <a:spcAft>
                <a:spcPts val="75"/>
              </a:spcAft>
              <a:buFont typeface="Arial" panose="020B0604020202020204" pitchFamily="34" charset="0"/>
              <a:buNone/>
              <a:defRPr/>
            </a:pPr>
            <a:r>
              <a:rPr lang="en-US" sz="1200" kern="1200" dirty="0">
                <a:solidFill>
                  <a:schemeClr val="tx1"/>
                </a:solidFill>
                <a:latin typeface="Arial" panose="020B0604020202020204" pitchFamily="34" charset="0"/>
                <a:ea typeface="+mn-ea"/>
                <a:cs typeface="Arial" panose="020B0604020202020204" pitchFamily="34" charset="0"/>
              </a:rPr>
              <a:t>We’re here to discuss this opportunity to move customers to the center of your business.</a:t>
            </a:r>
          </a:p>
        </p:txBody>
      </p:sp>
      <p:sp>
        <p:nvSpPr>
          <p:cNvPr id="5" name="TextBox 4"/>
          <p:cNvSpPr txBox="1"/>
          <p:nvPr userDrawn="1"/>
        </p:nvSpPr>
        <p:spPr>
          <a:xfrm>
            <a:off x="304800" y="4800737"/>
            <a:ext cx="592470" cy="138499"/>
          </a:xfrm>
          <a:prstGeom prst="rect">
            <a:avLst/>
          </a:prstGeom>
          <a:noFill/>
        </p:spPr>
        <p:txBody>
          <a:bodyPr wrap="none" lIns="0" bIns="0" rtlCol="0" anchor="b" anchorCtr="0">
            <a:spAutoFit/>
          </a:bodyPr>
          <a:lstStyle/>
          <a:p>
            <a:pPr defTabSz="685755"/>
            <a:r>
              <a:rPr lang="en-AU" sz="600" spc="75">
                <a:gradFill>
                  <a:gsLst>
                    <a:gs pos="7258">
                      <a:schemeClr val="accent2"/>
                    </a:gs>
                    <a:gs pos="19000">
                      <a:schemeClr val="accent2"/>
                    </a:gs>
                  </a:gsLst>
                  <a:lin ang="5400000" scaled="1"/>
                </a:gradFill>
                <a:latin typeface="Arial" panose="020B0604020202020204" pitchFamily="34" charset="0"/>
                <a:ea typeface="Roboto Light" panose="02000000000000000000" pitchFamily="2" charset="0"/>
                <a:cs typeface="Arial" panose="020B0604020202020204" pitchFamily="34" charset="0"/>
              </a:rPr>
              <a:t>slalom.com</a:t>
            </a:r>
          </a:p>
        </p:txBody>
      </p:sp>
    </p:spTree>
    <p:extLst>
      <p:ext uri="{BB962C8B-B14F-4D97-AF65-F5344CB8AC3E}">
        <p14:creationId xmlns:p14="http://schemas.microsoft.com/office/powerpoint/2010/main" val="3585143497"/>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Blue Background">
    <p:bg>
      <p:bgPr>
        <a:solidFill>
          <a:schemeClr val="accent2"/>
        </a:solidFill>
        <a:effectLst/>
      </p:bgPr>
    </p:bg>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a:xfrm>
            <a:off x="725478" y="2384349"/>
            <a:ext cx="3949430" cy="374802"/>
          </a:xfrm>
          <a:prstGeom prst="rect">
            <a:avLst/>
          </a:prstGeom>
        </p:spPr>
        <p:txBody>
          <a:bodyPr vert="horz" lIns="0" tIns="45720" rIns="91440" bIns="45720" rtlCol="0" anchor="ctr">
            <a:noAutofit/>
          </a:bodyPr>
          <a:lstStyle>
            <a:lvl1pPr algn="l" defTabSz="685766" rtl="0" eaLnBrk="1" latinLnBrk="0" hangingPunct="1">
              <a:lnSpc>
                <a:spcPct val="90000"/>
              </a:lnSpc>
              <a:spcBef>
                <a:spcPct val="0"/>
              </a:spcBef>
              <a:buNone/>
              <a:defRPr lang="en-US" sz="3600" b="1" kern="1200" spc="-100" baseline="0" dirty="0">
                <a:gradFill>
                  <a:gsLst>
                    <a:gs pos="4839">
                      <a:schemeClr val="bg1"/>
                    </a:gs>
                    <a:gs pos="10000">
                      <a:schemeClr val="bg1"/>
                    </a:gs>
                  </a:gsLst>
                  <a:lin ang="5400000" scaled="1"/>
                </a:gradFill>
                <a:latin typeface="Arial" panose="020B0604020202020204" pitchFamily="34" charset="0"/>
                <a:ea typeface="Roboto Medium" panose="02000000000000000000" pitchFamily="2" charset="0"/>
                <a:cs typeface="Arial" panose="020B0604020202020204" pitchFamily="34" charset="0"/>
              </a:defRPr>
            </a:lvl1pPr>
          </a:lstStyle>
          <a:p>
            <a:r>
              <a:rPr lang="en-US" dirty="0"/>
              <a:t>Today’s Agenda</a:t>
            </a:r>
          </a:p>
        </p:txBody>
      </p:sp>
      <p:sp>
        <p:nvSpPr>
          <p:cNvPr id="10" name="TextBox 9"/>
          <p:cNvSpPr txBox="1"/>
          <p:nvPr/>
        </p:nvSpPr>
        <p:spPr>
          <a:xfrm>
            <a:off x="287792" y="4800737"/>
            <a:ext cx="592470" cy="138499"/>
          </a:xfrm>
          <a:prstGeom prst="rect">
            <a:avLst/>
          </a:prstGeom>
          <a:noFill/>
        </p:spPr>
        <p:txBody>
          <a:bodyPr wrap="none" lIns="0" bIns="0" rtlCol="0" anchor="b" anchorCtr="0">
            <a:spAutoFit/>
          </a:bodyPr>
          <a:lstStyle/>
          <a:p>
            <a:pPr defTabSz="685755"/>
            <a:r>
              <a:rPr lang="en-AU" sz="600" spc="75">
                <a:gradFill>
                  <a:gsLst>
                    <a:gs pos="7258">
                      <a:schemeClr val="bg1"/>
                    </a:gs>
                    <a:gs pos="19000">
                      <a:schemeClr val="bg1"/>
                    </a:gs>
                  </a:gsLst>
                  <a:lin ang="5400000" scaled="1"/>
                </a:gradFill>
                <a:latin typeface="Arial" panose="020B0604020202020204" pitchFamily="34" charset="0"/>
                <a:ea typeface="Roboto Light" panose="02000000000000000000" pitchFamily="2" charset="0"/>
                <a:cs typeface="Arial" panose="020B0604020202020204" pitchFamily="34" charset="0"/>
              </a:rPr>
              <a:t>slalom.com</a:t>
            </a:r>
          </a:p>
        </p:txBody>
      </p:sp>
      <p:sp>
        <p:nvSpPr>
          <p:cNvPr id="6" name="Slide Number Placeholder 5"/>
          <p:cNvSpPr>
            <a:spLocks noGrp="1"/>
          </p:cNvSpPr>
          <p:nvPr>
            <p:ph type="sldNum" sz="quarter" idx="12"/>
          </p:nvPr>
        </p:nvSpPr>
        <p:spPr>
          <a:xfrm>
            <a:off x="8533335" y="4838589"/>
            <a:ext cx="323309" cy="201168"/>
          </a:xfrm>
          <a:prstGeom prst="rect">
            <a:avLst/>
          </a:prstGeom>
        </p:spPr>
        <p:txBody>
          <a:bodyPr lIns="0" tIns="0" rIns="0" bIns="0"/>
          <a:lstStyle>
            <a:lvl1pPr algn="r">
              <a:defRPr sz="600">
                <a:gradFill>
                  <a:gsLst>
                    <a:gs pos="7258">
                      <a:schemeClr val="bg1"/>
                    </a:gs>
                    <a:gs pos="19000">
                      <a:schemeClr val="bg1"/>
                    </a:gs>
                  </a:gsLst>
                  <a:lin ang="5400000" scaled="1"/>
                </a:gradFill>
                <a:latin typeface="Arial" panose="020B0604020202020204" pitchFamily="34" charset="0"/>
                <a:ea typeface="Roboto Light" panose="02000000000000000000" pitchFamily="2" charset="0"/>
                <a:cs typeface="Arial" panose="020B0604020202020204" pitchFamily="34" charset="0"/>
              </a:defRPr>
            </a:lvl1pPr>
          </a:lstStyle>
          <a:p>
            <a:fld id="{FCEE2C88-6C8F-484D-AF69-578F576B1F44}" type="slidenum">
              <a:rPr lang="en-US" smtClean="0"/>
              <a:pPr/>
              <a:t>‹#›</a:t>
            </a:fld>
            <a:endParaRPr lang="en-US"/>
          </a:p>
        </p:txBody>
      </p:sp>
    </p:spTree>
    <p:extLst>
      <p:ext uri="{BB962C8B-B14F-4D97-AF65-F5344CB8AC3E}">
        <p14:creationId xmlns:p14="http://schemas.microsoft.com/office/powerpoint/2010/main" val="18805385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296736" y="435081"/>
            <a:ext cx="8229600" cy="264785"/>
          </a:xfrm>
          <a:prstGeom prst="rect">
            <a:avLst/>
          </a:prstGeom>
        </p:spPr>
        <p:txBody>
          <a:bodyPr vert="horz" wrap="square" lIns="0" tIns="0" rIns="0" bIns="0" rtlCol="0">
            <a:normAutofit/>
          </a:bodyPr>
          <a:lstStyle/>
          <a:p>
            <a:pPr marL="0" lvl="0" indent="0">
              <a:spcBef>
                <a:spcPts val="1200"/>
              </a:spcBef>
              <a:buClr>
                <a:srgbClr val="0072C8"/>
              </a:buClr>
              <a:buSzPct val="110000"/>
              <a:buFont typeface="Wingdings" panose="05000000000000000000" pitchFamily="2" charset="2"/>
            </a:pPr>
            <a:endParaRPr lang="en-US" dirty="0"/>
          </a:p>
        </p:txBody>
      </p:sp>
      <p:sp>
        <p:nvSpPr>
          <p:cNvPr id="7" name="Text Placeholder 6"/>
          <p:cNvSpPr>
            <a:spLocks noGrp="1"/>
          </p:cNvSpPr>
          <p:nvPr>
            <p:ph type="body" idx="1"/>
          </p:nvPr>
        </p:nvSpPr>
        <p:spPr>
          <a:xfrm>
            <a:off x="231775" y="1072134"/>
            <a:ext cx="8461749" cy="1059264"/>
          </a:xfrm>
          <a:prstGeom prst="rect">
            <a:avLst/>
          </a:prstGeom>
        </p:spPr>
        <p:txBody>
          <a:bodyPr vert="horz" wrap="square" lIns="0" tIns="45720" rIns="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p:cNvSpPr>
            <a:spLocks noGrp="1"/>
          </p:cNvSpPr>
          <p:nvPr>
            <p:ph type="sldNum" sz="quarter" idx="4"/>
          </p:nvPr>
        </p:nvSpPr>
        <p:spPr>
          <a:xfrm>
            <a:off x="8022388" y="4842922"/>
            <a:ext cx="816812" cy="148595"/>
          </a:xfrm>
          <a:prstGeom prst="rect">
            <a:avLst/>
          </a:prstGeom>
        </p:spPr>
        <p:txBody>
          <a:bodyPr lIns="0" tIns="0" rIns="0" bIns="0"/>
          <a:lstStyle>
            <a:lvl1pPr>
              <a:defRPr lang="en-US" sz="600" smtClean="0">
                <a:gradFill>
                  <a:gsLst>
                    <a:gs pos="7258">
                      <a:schemeClr val="accent2"/>
                    </a:gs>
                    <a:gs pos="19000">
                      <a:schemeClr val="accent2"/>
                    </a:gs>
                  </a:gsLst>
                  <a:lin ang="5400000" scaled="1"/>
                </a:gradFill>
                <a:latin typeface="Arial" panose="020B0604020202020204" pitchFamily="34" charset="0"/>
                <a:ea typeface="Roboto Light" panose="02000000000000000000" pitchFamily="2" charset="0"/>
                <a:cs typeface="Arial" panose="020B0604020202020204" pitchFamily="34" charset="0"/>
              </a:defRPr>
            </a:lvl1pPr>
          </a:lstStyle>
          <a:p>
            <a:pPr algn="r"/>
            <a:fld id="{21DDF48F-5559-4223-B55F-0FD1B97C903D}" type="slidenum">
              <a:rPr lang="en-US" smtClean="0"/>
              <a:pPr algn="r"/>
              <a:t>‹#›</a:t>
            </a:fld>
            <a:endParaRPr lang="en-US"/>
          </a:p>
        </p:txBody>
      </p:sp>
    </p:spTree>
    <p:extLst>
      <p:ext uri="{BB962C8B-B14F-4D97-AF65-F5344CB8AC3E}">
        <p14:creationId xmlns:p14="http://schemas.microsoft.com/office/powerpoint/2010/main" val="2393987413"/>
      </p:ext>
    </p:extLst>
  </p:cSld>
  <p:clrMap bg1="lt1" tx1="dk1" bg2="lt2" tx2="dk2" accent1="accent1" accent2="accent2" accent3="accent3" accent4="accent4" accent5="accent5" accent6="accent6" hlink="hlink" folHlink="folHlink"/>
  <p:sldLayoutIdLst>
    <p:sldLayoutId id="2147483994" r:id="rId1"/>
    <p:sldLayoutId id="2147484001" r:id="rId2"/>
    <p:sldLayoutId id="2147484012" r:id="rId3"/>
    <p:sldLayoutId id="2147484016" r:id="rId4"/>
    <p:sldLayoutId id="2147484011" r:id="rId5"/>
    <p:sldLayoutId id="2147484021" r:id="rId6"/>
    <p:sldLayoutId id="2147484031" r:id="rId7"/>
    <p:sldLayoutId id="2147484019" r:id="rId8"/>
    <p:sldLayoutId id="2147484002" r:id="rId9"/>
    <p:sldLayoutId id="2147484000" r:id="rId10"/>
    <p:sldLayoutId id="2147483967" r:id="rId11"/>
    <p:sldLayoutId id="2147484018" r:id="rId12"/>
    <p:sldLayoutId id="2147483965" r:id="rId13"/>
    <p:sldLayoutId id="2147484024" r:id="rId14"/>
    <p:sldLayoutId id="2147483984" r:id="rId15"/>
    <p:sldLayoutId id="2147483985" r:id="rId16"/>
    <p:sldLayoutId id="2147483990" r:id="rId17"/>
    <p:sldLayoutId id="2147484028" r:id="rId18"/>
    <p:sldLayoutId id="2147483986" r:id="rId19"/>
    <p:sldLayoutId id="2147483987" r:id="rId20"/>
    <p:sldLayoutId id="2147484004" r:id="rId21"/>
    <p:sldLayoutId id="2147484010" r:id="rId22"/>
    <p:sldLayoutId id="2147484007" r:id="rId23"/>
    <p:sldLayoutId id="2147484030" r:id="rId24"/>
    <p:sldLayoutId id="2147484013" r:id="rId25"/>
    <p:sldLayoutId id="2147484022" r:id="rId26"/>
    <p:sldLayoutId id="2147484014" r:id="rId27"/>
    <p:sldLayoutId id="2147484003" r:id="rId28"/>
    <p:sldLayoutId id="2147484023" r:id="rId29"/>
    <p:sldLayoutId id="2147484032" r:id="rId30"/>
  </p:sldLayoutIdLst>
  <p:hf hdr="0" ftr="0" dt="0"/>
  <p:txStyles>
    <p:titleStyle>
      <a:lvl1pPr algn="l" defTabSz="914400" rtl="0" eaLnBrk="1" latinLnBrk="0" hangingPunct="1">
        <a:lnSpc>
          <a:spcPct val="90000"/>
        </a:lnSpc>
        <a:spcBef>
          <a:spcPct val="0"/>
        </a:spcBef>
        <a:buNone/>
        <a:defRPr lang="en-US" sz="1600" b="1" kern="0" spc="-40" baseline="0" dirty="0">
          <a:gradFill>
            <a:gsLst>
              <a:gs pos="2419">
                <a:schemeClr val="accent2"/>
              </a:gs>
              <a:gs pos="7000">
                <a:schemeClr val="accent2"/>
              </a:gs>
            </a:gsLst>
            <a:lin ang="5400000" scaled="1"/>
          </a:gradFill>
          <a:latin typeface="Arial" panose="020B0604020202020204" pitchFamily="34" charset="0"/>
          <a:ea typeface="Roboto Medium" panose="02000000000000000000" pitchFamily="2" charset="0"/>
          <a:cs typeface="Arial" panose="020B0604020202020204" pitchFamily="34" charset="0"/>
        </a:defRPr>
      </a:lvl1pPr>
    </p:titleStyle>
    <p:bodyStyle>
      <a:lvl1pPr marL="173038" indent="-173038" algn="l" defTabSz="914400" rtl="0" eaLnBrk="1" latinLnBrk="0" hangingPunct="1">
        <a:lnSpc>
          <a:spcPct val="90000"/>
        </a:lnSpc>
        <a:spcBef>
          <a:spcPts val="1200"/>
        </a:spcBef>
        <a:buClr>
          <a:srgbClr val="0072C8"/>
        </a:buClr>
        <a:buSzPct val="110000"/>
        <a:buFont typeface="Arial" panose="020B0604020202020204" pitchFamily="34" charset="0"/>
        <a:buChar char="•"/>
        <a:defRPr lang="en-US" sz="1200" kern="1200" spc="50" baseline="0" dirty="0" smtClean="0">
          <a:solidFill>
            <a:schemeClr val="tx1"/>
          </a:solidFill>
          <a:latin typeface="Arial" panose="020B0604020202020204" pitchFamily="34" charset="0"/>
          <a:ea typeface="+mn-ea"/>
          <a:cs typeface="Arial" panose="020B0604020202020204" pitchFamily="34" charset="0"/>
        </a:defRPr>
      </a:lvl1pPr>
      <a:lvl2pPr marL="323850" indent="-150813" algn="l" defTabSz="914400" rtl="0" eaLnBrk="1" latinLnBrk="0" hangingPunct="1">
        <a:lnSpc>
          <a:spcPct val="90000"/>
        </a:lnSpc>
        <a:spcBef>
          <a:spcPts val="600"/>
        </a:spcBef>
        <a:buClr>
          <a:srgbClr val="CDCDCD"/>
        </a:buClr>
        <a:buSzPct val="110000"/>
        <a:buFont typeface="Arial" panose="020B0604020202020204" pitchFamily="34" charset="0"/>
        <a:buChar char="•"/>
        <a:defRPr lang="en-US" sz="1100" kern="1200" spc="50" baseline="0" dirty="0" smtClean="0">
          <a:solidFill>
            <a:schemeClr val="tx1"/>
          </a:solidFill>
          <a:latin typeface="Arial" panose="020B0604020202020204" pitchFamily="34" charset="0"/>
          <a:ea typeface="+mn-ea"/>
          <a:cs typeface="Arial" panose="020B0604020202020204" pitchFamily="34" charset="0"/>
        </a:defRPr>
      </a:lvl2pPr>
      <a:lvl3pPr marL="457200" indent="-133350" algn="l" defTabSz="914400" rtl="0" eaLnBrk="1" latinLnBrk="0" hangingPunct="1">
        <a:lnSpc>
          <a:spcPct val="90000"/>
        </a:lnSpc>
        <a:spcBef>
          <a:spcPts val="400"/>
        </a:spcBef>
        <a:buClr>
          <a:srgbClr val="CDCDCD"/>
        </a:buClr>
        <a:buSzPct val="110000"/>
        <a:buFont typeface="Arial" panose="020B0604020202020204" pitchFamily="34" charset="0"/>
        <a:buChar char="•"/>
        <a:defRPr lang="en-US" sz="1050" kern="1200" spc="50" baseline="0" dirty="0" smtClean="0">
          <a:solidFill>
            <a:schemeClr val="tx1"/>
          </a:solidFill>
          <a:latin typeface="Arial" panose="020B0604020202020204" pitchFamily="34" charset="0"/>
          <a:ea typeface="+mn-ea"/>
          <a:cs typeface="Arial" panose="020B0604020202020204" pitchFamily="34" charset="0"/>
        </a:defRPr>
      </a:lvl3pPr>
      <a:lvl4pPr marL="590550" indent="-133350" algn="l" defTabSz="914400" rtl="0" eaLnBrk="1" latinLnBrk="0" hangingPunct="1">
        <a:lnSpc>
          <a:spcPct val="90000"/>
        </a:lnSpc>
        <a:spcBef>
          <a:spcPts val="300"/>
        </a:spcBef>
        <a:buClr>
          <a:srgbClr val="CDCDCD"/>
        </a:buClr>
        <a:buSzPct val="110000"/>
        <a:buFont typeface="Arial" panose="020B0604020202020204" pitchFamily="34" charset="0"/>
        <a:buChar char="•"/>
        <a:defRPr lang="en-US" sz="1000" kern="1200" spc="50" baseline="0" dirty="0" smtClean="0">
          <a:solidFill>
            <a:schemeClr val="tx1"/>
          </a:solidFill>
          <a:latin typeface="Arial" panose="020B0604020202020204" pitchFamily="34" charset="0"/>
          <a:ea typeface="+mn-ea"/>
          <a:cs typeface="Arial" panose="020B0604020202020204" pitchFamily="34" charset="0"/>
        </a:defRPr>
      </a:lvl4pPr>
      <a:lvl5pPr marL="704850" indent="-111125" algn="l" defTabSz="914400" rtl="0" eaLnBrk="1" latinLnBrk="0" hangingPunct="1">
        <a:lnSpc>
          <a:spcPct val="90000"/>
        </a:lnSpc>
        <a:spcBef>
          <a:spcPts val="300"/>
        </a:spcBef>
        <a:buClr>
          <a:srgbClr val="CDCDCD"/>
        </a:buClr>
        <a:buSzPct val="110000"/>
        <a:buFont typeface="Arial" panose="020B0604020202020204" pitchFamily="34" charset="0"/>
        <a:buChar char="•"/>
        <a:defRPr lang="en-US" sz="1000" kern="1200" spc="50" baseline="0" dirty="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880">
          <p15:clr>
            <a:srgbClr val="F26B43"/>
          </p15:clr>
        </p15:guide>
        <p15:guide id="3" pos="144" userDrawn="1">
          <p15:clr>
            <a:srgbClr val="F26B43"/>
          </p15:clr>
        </p15:guide>
        <p15:guide id="4" pos="192" userDrawn="1">
          <p15:clr>
            <a:srgbClr val="F26B43"/>
          </p15:clr>
        </p15:guide>
        <p15:guide id="5" pos="5568" userDrawn="1">
          <p15:clr>
            <a:srgbClr val="F26B43"/>
          </p15:clr>
        </p15:guide>
        <p15:guide id="6" pos="5616">
          <p15:clr>
            <a:srgbClr val="F26B43"/>
          </p15:clr>
        </p15:guide>
        <p15:guide id="7" orient="horz" pos="156" userDrawn="1">
          <p15:clr>
            <a:srgbClr val="F26B43"/>
          </p15:clr>
        </p15:guide>
        <p15:guide id="8" orient="horz" pos="672">
          <p15:clr>
            <a:srgbClr val="F26B43"/>
          </p15:clr>
        </p15:guide>
        <p15:guide id="9" orient="horz" pos="204" userDrawn="1">
          <p15:clr>
            <a:srgbClr val="F26B43"/>
          </p15:clr>
        </p15:guide>
        <p15:guide id="10" orient="horz" pos="291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sp.slalom.com/ourfirm/studio/SitePages/templates.aspx"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3.xml"/><Relationship Id="rId5" Type="http://schemas.openxmlformats.org/officeDocument/2006/relationships/image" Target="../media/image13.png"/><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7.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5.xml"/><Relationship Id="rId4"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8.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1.bin"/><Relationship Id="rId5" Type="http://schemas.openxmlformats.org/officeDocument/2006/relationships/notesSlide" Target="../notesSlides/notesSlide6.xml"/><Relationship Id="rId4"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Exploring Sitecore </a:t>
            </a:r>
            <a:r>
              <a:rPr lang="en-US" dirty="0" err="1"/>
              <a:t>Xconnect</a:t>
            </a:r>
            <a:endParaRPr lang="en-US" dirty="0"/>
          </a:p>
        </p:txBody>
      </p:sp>
      <p:sp>
        <p:nvSpPr>
          <p:cNvPr id="3" name="Text Placeholder 2"/>
          <p:cNvSpPr>
            <a:spLocks noGrp="1"/>
          </p:cNvSpPr>
          <p:nvPr>
            <p:ph type="body" sz="quarter" idx="15"/>
          </p:nvPr>
        </p:nvSpPr>
        <p:spPr>
          <a:xfrm>
            <a:off x="313932" y="2963121"/>
            <a:ext cx="8445894" cy="232819"/>
          </a:xfrm>
        </p:spPr>
        <p:txBody>
          <a:bodyPr/>
          <a:lstStyle/>
          <a:p>
            <a:r>
              <a:rPr lang="en-US" dirty="0"/>
              <a:t>Building an offline visitor’s profile.</a:t>
            </a:r>
            <a:endParaRPr lang="en-US" u="sng" dirty="0"/>
          </a:p>
        </p:txBody>
      </p:sp>
      <p:sp>
        <p:nvSpPr>
          <p:cNvPr id="4" name="Text Placeholder 3"/>
          <p:cNvSpPr>
            <a:spLocks noGrp="1"/>
          </p:cNvSpPr>
          <p:nvPr>
            <p:ph type="body" sz="quarter" idx="22"/>
          </p:nvPr>
        </p:nvSpPr>
        <p:spPr/>
        <p:txBody>
          <a:bodyPr/>
          <a:lstStyle/>
          <a:p>
            <a:r>
              <a:rPr lang="en-US" dirty="0"/>
              <a:t>September 10, 2018</a:t>
            </a:r>
          </a:p>
        </p:txBody>
      </p:sp>
      <p:sp>
        <p:nvSpPr>
          <p:cNvPr id="5" name="Rectangle 4">
            <a:hlinkClick r:id="rId3"/>
          </p:cNvPr>
          <p:cNvSpPr/>
          <p:nvPr/>
        </p:nvSpPr>
        <p:spPr>
          <a:xfrm>
            <a:off x="3950473" y="2915728"/>
            <a:ext cx="908649" cy="3220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US" err="1">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Tree>
    <p:extLst>
      <p:ext uri="{BB962C8B-B14F-4D97-AF65-F5344CB8AC3E}">
        <p14:creationId xmlns:p14="http://schemas.microsoft.com/office/powerpoint/2010/main" val="20436488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35036E0-4FD8-436B-8B35-C885E1172884}"/>
              </a:ext>
            </a:extLst>
          </p:cNvPr>
          <p:cNvSpPr>
            <a:spLocks noGrp="1"/>
          </p:cNvSpPr>
          <p:nvPr>
            <p:ph type="sldNum" sz="quarter" idx="12"/>
          </p:nvPr>
        </p:nvSpPr>
        <p:spPr/>
        <p:txBody>
          <a:bodyPr/>
          <a:lstStyle/>
          <a:p>
            <a:fld id="{FCEE2C88-6C8F-484D-AF69-578F576B1F44}" type="slidenum">
              <a:rPr lang="en-US" smtClean="0"/>
              <a:pPr/>
              <a:t>10</a:t>
            </a:fld>
            <a:endParaRPr lang="en-US"/>
          </a:p>
        </p:txBody>
      </p:sp>
      <p:sp>
        <p:nvSpPr>
          <p:cNvPr id="3" name="Text Placeholder 2">
            <a:extLst>
              <a:ext uri="{FF2B5EF4-FFF2-40B4-BE49-F238E27FC236}">
                <a16:creationId xmlns:a16="http://schemas.microsoft.com/office/drawing/2014/main" id="{FEC34FDF-3AA7-4C17-8F15-5EDE070A7BD4}"/>
              </a:ext>
            </a:extLst>
          </p:cNvPr>
          <p:cNvSpPr>
            <a:spLocks noGrp="1"/>
          </p:cNvSpPr>
          <p:nvPr>
            <p:ph type="body" sz="quarter" idx="14"/>
          </p:nvPr>
        </p:nvSpPr>
        <p:spPr/>
        <p:txBody>
          <a:bodyPr/>
          <a:lstStyle/>
          <a:p>
            <a:r>
              <a:rPr lang="en-US" dirty="0"/>
              <a:t>For the </a:t>
            </a:r>
            <a:r>
              <a:rPr lang="en-US" b="1" i="1" dirty="0"/>
              <a:t>live</a:t>
            </a:r>
            <a:r>
              <a:rPr lang="en-US" dirty="0"/>
              <a:t> demo…</a:t>
            </a:r>
          </a:p>
        </p:txBody>
      </p:sp>
      <p:sp>
        <p:nvSpPr>
          <p:cNvPr id="4" name="Text Placeholder 3">
            <a:extLst>
              <a:ext uri="{FF2B5EF4-FFF2-40B4-BE49-F238E27FC236}">
                <a16:creationId xmlns:a16="http://schemas.microsoft.com/office/drawing/2014/main" id="{954A085F-65BC-4DFB-86C9-3946E6568FEF}"/>
              </a:ext>
            </a:extLst>
          </p:cNvPr>
          <p:cNvSpPr>
            <a:spLocks noGrp="1"/>
          </p:cNvSpPr>
          <p:nvPr>
            <p:ph type="body" sz="quarter" idx="16"/>
          </p:nvPr>
        </p:nvSpPr>
        <p:spPr/>
        <p:txBody>
          <a:bodyPr/>
          <a:lstStyle/>
          <a:p>
            <a:r>
              <a:rPr lang="en-US" dirty="0"/>
              <a:t>Starting with a unknown contact to an offline experience and back.</a:t>
            </a:r>
          </a:p>
        </p:txBody>
      </p:sp>
      <p:pic>
        <p:nvPicPr>
          <p:cNvPr id="6" name="Picture 5">
            <a:extLst>
              <a:ext uri="{FF2B5EF4-FFF2-40B4-BE49-F238E27FC236}">
                <a16:creationId xmlns:a16="http://schemas.microsoft.com/office/drawing/2014/main" id="{62306BE4-54D5-4A5D-B19C-FEFE5DA78956}"/>
              </a:ext>
            </a:extLst>
          </p:cNvPr>
          <p:cNvPicPr>
            <a:picLocks noChangeAspect="1"/>
          </p:cNvPicPr>
          <p:nvPr/>
        </p:nvPicPr>
        <p:blipFill>
          <a:blip r:embed="rId2"/>
          <a:stretch>
            <a:fillRect/>
          </a:stretch>
        </p:blipFill>
        <p:spPr>
          <a:xfrm>
            <a:off x="6289200" y="689316"/>
            <a:ext cx="1806757" cy="1048043"/>
          </a:xfrm>
          <a:prstGeom prst="rect">
            <a:avLst/>
          </a:prstGeom>
        </p:spPr>
      </p:pic>
      <p:pic>
        <p:nvPicPr>
          <p:cNvPr id="8" name="Picture 7">
            <a:extLst>
              <a:ext uri="{FF2B5EF4-FFF2-40B4-BE49-F238E27FC236}">
                <a16:creationId xmlns:a16="http://schemas.microsoft.com/office/drawing/2014/main" id="{F6825DE5-ACE7-4392-B384-8BFAB503B208}"/>
              </a:ext>
            </a:extLst>
          </p:cNvPr>
          <p:cNvPicPr>
            <a:picLocks noChangeAspect="1"/>
          </p:cNvPicPr>
          <p:nvPr/>
        </p:nvPicPr>
        <p:blipFill>
          <a:blip r:embed="rId3"/>
          <a:stretch>
            <a:fillRect/>
          </a:stretch>
        </p:blipFill>
        <p:spPr>
          <a:xfrm>
            <a:off x="1364050" y="1213338"/>
            <a:ext cx="2532185" cy="1358412"/>
          </a:xfrm>
          <a:prstGeom prst="rect">
            <a:avLst/>
          </a:prstGeom>
        </p:spPr>
      </p:pic>
      <p:pic>
        <p:nvPicPr>
          <p:cNvPr id="9" name="Picture 8">
            <a:extLst>
              <a:ext uri="{FF2B5EF4-FFF2-40B4-BE49-F238E27FC236}">
                <a16:creationId xmlns:a16="http://schemas.microsoft.com/office/drawing/2014/main" id="{E334F8CE-5178-4D99-A24A-CDDA483EE4D1}"/>
              </a:ext>
            </a:extLst>
          </p:cNvPr>
          <p:cNvPicPr>
            <a:picLocks noChangeAspect="1"/>
          </p:cNvPicPr>
          <p:nvPr/>
        </p:nvPicPr>
        <p:blipFill>
          <a:blip r:embed="rId4"/>
          <a:stretch>
            <a:fillRect/>
          </a:stretch>
        </p:blipFill>
        <p:spPr>
          <a:xfrm>
            <a:off x="5790532" y="2901111"/>
            <a:ext cx="2532185" cy="1358412"/>
          </a:xfrm>
          <a:prstGeom prst="rect">
            <a:avLst/>
          </a:prstGeom>
        </p:spPr>
      </p:pic>
      <p:pic>
        <p:nvPicPr>
          <p:cNvPr id="10" name="Picture 9">
            <a:extLst>
              <a:ext uri="{FF2B5EF4-FFF2-40B4-BE49-F238E27FC236}">
                <a16:creationId xmlns:a16="http://schemas.microsoft.com/office/drawing/2014/main" id="{1CFDA4B0-760F-4957-B7FC-E8191D0DBE77}"/>
              </a:ext>
            </a:extLst>
          </p:cNvPr>
          <p:cNvPicPr>
            <a:picLocks noChangeAspect="1"/>
          </p:cNvPicPr>
          <p:nvPr/>
        </p:nvPicPr>
        <p:blipFill>
          <a:blip r:embed="rId5"/>
          <a:stretch>
            <a:fillRect/>
          </a:stretch>
        </p:blipFill>
        <p:spPr>
          <a:xfrm>
            <a:off x="1282750" y="3181827"/>
            <a:ext cx="2532185" cy="1358412"/>
          </a:xfrm>
          <a:prstGeom prst="rect">
            <a:avLst/>
          </a:prstGeom>
        </p:spPr>
      </p:pic>
      <p:sp>
        <p:nvSpPr>
          <p:cNvPr id="11" name="Rounded Rectangle 4">
            <a:extLst>
              <a:ext uri="{FF2B5EF4-FFF2-40B4-BE49-F238E27FC236}">
                <a16:creationId xmlns:a16="http://schemas.microsoft.com/office/drawing/2014/main" id="{EE7DB01C-0EBA-43D4-97A4-2AA09A734AEF}"/>
              </a:ext>
            </a:extLst>
          </p:cNvPr>
          <p:cNvSpPr/>
          <p:nvPr/>
        </p:nvSpPr>
        <p:spPr>
          <a:xfrm>
            <a:off x="5110251" y="2876788"/>
            <a:ext cx="453521" cy="453521"/>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US" sz="1600" b="1" dirty="0">
                <a:solidFill>
                  <a:schemeClr val="bg1"/>
                </a:solidFill>
                <a:latin typeface="Arial" panose="020B0604020202020204" pitchFamily="34" charset="0"/>
                <a:cs typeface="Arial" panose="020B0604020202020204" pitchFamily="34" charset="0"/>
              </a:rPr>
              <a:t>3</a:t>
            </a:r>
          </a:p>
        </p:txBody>
      </p:sp>
      <p:sp>
        <p:nvSpPr>
          <p:cNvPr id="12" name="Rounded Rectangle 6">
            <a:extLst>
              <a:ext uri="{FF2B5EF4-FFF2-40B4-BE49-F238E27FC236}">
                <a16:creationId xmlns:a16="http://schemas.microsoft.com/office/drawing/2014/main" id="{2F2711CA-B97F-4F6F-843B-0342F3124A59}"/>
              </a:ext>
            </a:extLst>
          </p:cNvPr>
          <p:cNvSpPr/>
          <p:nvPr/>
        </p:nvSpPr>
        <p:spPr>
          <a:xfrm>
            <a:off x="5563772" y="689316"/>
            <a:ext cx="453521" cy="453521"/>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US" sz="1600" b="1" dirty="0">
                <a:solidFill>
                  <a:schemeClr val="bg1"/>
                </a:solidFill>
                <a:latin typeface="Arial" panose="020B0604020202020204" pitchFamily="34" charset="0"/>
                <a:cs typeface="Arial" panose="020B0604020202020204" pitchFamily="34" charset="0"/>
              </a:rPr>
              <a:t>2</a:t>
            </a:r>
          </a:p>
        </p:txBody>
      </p:sp>
      <p:sp>
        <p:nvSpPr>
          <p:cNvPr id="13" name="Rounded Rectangle 7">
            <a:extLst>
              <a:ext uri="{FF2B5EF4-FFF2-40B4-BE49-F238E27FC236}">
                <a16:creationId xmlns:a16="http://schemas.microsoft.com/office/drawing/2014/main" id="{5C3B3522-A9A7-4FC5-AF86-4D30FEBAFAA9}"/>
              </a:ext>
            </a:extLst>
          </p:cNvPr>
          <p:cNvSpPr/>
          <p:nvPr/>
        </p:nvSpPr>
        <p:spPr>
          <a:xfrm>
            <a:off x="713812" y="3181717"/>
            <a:ext cx="453521" cy="453521"/>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US" sz="1600" b="1" dirty="0">
                <a:solidFill>
                  <a:schemeClr val="bg1"/>
                </a:solidFill>
                <a:latin typeface="Arial" panose="020B0604020202020204" pitchFamily="34" charset="0"/>
                <a:cs typeface="Arial" panose="020B0604020202020204" pitchFamily="34" charset="0"/>
              </a:rPr>
              <a:t>4</a:t>
            </a:r>
          </a:p>
        </p:txBody>
      </p:sp>
      <p:sp>
        <p:nvSpPr>
          <p:cNvPr id="14" name="Rounded Rectangle 9">
            <a:extLst>
              <a:ext uri="{FF2B5EF4-FFF2-40B4-BE49-F238E27FC236}">
                <a16:creationId xmlns:a16="http://schemas.microsoft.com/office/drawing/2014/main" id="{EB7EDEE2-A629-42FF-9416-65E973B4C39A}"/>
              </a:ext>
            </a:extLst>
          </p:cNvPr>
          <p:cNvSpPr/>
          <p:nvPr/>
        </p:nvSpPr>
        <p:spPr>
          <a:xfrm>
            <a:off x="713812" y="1213338"/>
            <a:ext cx="453521" cy="453521"/>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US" sz="1600" b="1" dirty="0">
                <a:solidFill>
                  <a:schemeClr val="bg1"/>
                </a:solidFill>
                <a:latin typeface="Arial" panose="020B0604020202020204" pitchFamily="34" charset="0"/>
                <a:cs typeface="Arial" panose="020B0604020202020204" pitchFamily="34" charset="0"/>
              </a:rPr>
              <a:t>1</a:t>
            </a:r>
          </a:p>
        </p:txBody>
      </p:sp>
      <p:cxnSp>
        <p:nvCxnSpPr>
          <p:cNvPr id="16" name="Connector: Elbow 15">
            <a:extLst>
              <a:ext uri="{FF2B5EF4-FFF2-40B4-BE49-F238E27FC236}">
                <a16:creationId xmlns:a16="http://schemas.microsoft.com/office/drawing/2014/main" id="{6B18C077-F72E-46E7-911B-B08E2A2FF951}"/>
              </a:ext>
            </a:extLst>
          </p:cNvPr>
          <p:cNvCxnSpPr>
            <a:cxnSpLocks/>
            <a:stCxn id="8" idx="3"/>
            <a:endCxn id="10" idx="0"/>
          </p:cNvCxnSpPr>
          <p:nvPr/>
        </p:nvCxnSpPr>
        <p:spPr>
          <a:xfrm flipH="1">
            <a:off x="2548843" y="1892544"/>
            <a:ext cx="1347392" cy="1289283"/>
          </a:xfrm>
          <a:prstGeom prst="bentConnector4">
            <a:avLst>
              <a:gd name="adj1" fmla="val -16966"/>
              <a:gd name="adj2" fmla="val 7634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7973AAC1-C9B6-4BB9-BC72-5867AF0E2BD4}"/>
              </a:ext>
            </a:extLst>
          </p:cNvPr>
          <p:cNvCxnSpPr>
            <a:stCxn id="6" idx="2"/>
            <a:endCxn id="9" idx="0"/>
          </p:cNvCxnSpPr>
          <p:nvPr/>
        </p:nvCxnSpPr>
        <p:spPr>
          <a:xfrm rot="5400000">
            <a:off x="6542726" y="2251258"/>
            <a:ext cx="1163752" cy="135954"/>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44F7A366-9D4B-4485-8242-B03DDF2634BC}"/>
              </a:ext>
            </a:extLst>
          </p:cNvPr>
          <p:cNvCxnSpPr>
            <a:stCxn id="9" idx="1"/>
            <a:endCxn id="10" idx="3"/>
          </p:cNvCxnSpPr>
          <p:nvPr/>
        </p:nvCxnSpPr>
        <p:spPr>
          <a:xfrm rot="10800000" flipV="1">
            <a:off x="3814936" y="3580317"/>
            <a:ext cx="1975597" cy="280716"/>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Text Placeholder 32">
            <a:extLst>
              <a:ext uri="{FF2B5EF4-FFF2-40B4-BE49-F238E27FC236}">
                <a16:creationId xmlns:a16="http://schemas.microsoft.com/office/drawing/2014/main" id="{788263F9-2870-42B8-B50D-1A3FA967542C}"/>
              </a:ext>
            </a:extLst>
          </p:cNvPr>
          <p:cNvSpPr txBox="1">
            <a:spLocks/>
          </p:cNvSpPr>
          <p:nvPr/>
        </p:nvSpPr>
        <p:spPr>
          <a:xfrm>
            <a:off x="1364050" y="2653526"/>
            <a:ext cx="2532185" cy="305009"/>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spcBef>
                <a:spcPts val="0"/>
              </a:spcBef>
              <a:buNone/>
            </a:pPr>
            <a:r>
              <a:rPr lang="en-US" sz="675" dirty="0">
                <a:solidFill>
                  <a:schemeClr val="tx2"/>
                </a:solidFill>
                <a:latin typeface="Arial" panose="020B0604020202020204" pitchFamily="34" charset="0"/>
                <a:ea typeface="Roboto Light" panose="02000000000000000000" pitchFamily="2" charset="0"/>
                <a:cs typeface="Arial" panose="020B0604020202020204" pitchFamily="34" charset="0"/>
              </a:rPr>
              <a:t>MVC Site</a:t>
            </a:r>
          </a:p>
          <a:p>
            <a:pPr marL="0" indent="0">
              <a:lnSpc>
                <a:spcPct val="130000"/>
              </a:lnSpc>
              <a:spcBef>
                <a:spcPts val="0"/>
              </a:spcBef>
              <a:buNone/>
            </a:pPr>
            <a:r>
              <a:rPr lang="en-US" sz="675" dirty="0">
                <a:solidFill>
                  <a:schemeClr val="tx2"/>
                </a:solidFill>
                <a:latin typeface="Arial" panose="020B0604020202020204" pitchFamily="34" charset="0"/>
                <a:ea typeface="Roboto Light" panose="02000000000000000000" pitchFamily="2" charset="0"/>
                <a:cs typeface="Arial" panose="020B0604020202020204" pitchFamily="34" charset="0"/>
              </a:rPr>
              <a:t>Newsletter Subscription</a:t>
            </a:r>
          </a:p>
        </p:txBody>
      </p:sp>
      <p:sp>
        <p:nvSpPr>
          <p:cNvPr id="22" name="Text Placeholder 32">
            <a:extLst>
              <a:ext uri="{FF2B5EF4-FFF2-40B4-BE49-F238E27FC236}">
                <a16:creationId xmlns:a16="http://schemas.microsoft.com/office/drawing/2014/main" id="{6CA6110E-0D9D-4193-AF05-BD1A1600E345}"/>
              </a:ext>
            </a:extLst>
          </p:cNvPr>
          <p:cNvSpPr txBox="1">
            <a:spLocks/>
          </p:cNvSpPr>
          <p:nvPr/>
        </p:nvSpPr>
        <p:spPr>
          <a:xfrm>
            <a:off x="1282749" y="4692962"/>
            <a:ext cx="2532185" cy="305009"/>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spcBef>
                <a:spcPts val="0"/>
              </a:spcBef>
              <a:buNone/>
            </a:pPr>
            <a:r>
              <a:rPr lang="en-US" sz="675" dirty="0">
                <a:solidFill>
                  <a:schemeClr val="tx2"/>
                </a:solidFill>
                <a:latin typeface="Arial" panose="020B0604020202020204" pitchFamily="34" charset="0"/>
                <a:ea typeface="Roboto Light" panose="02000000000000000000" pitchFamily="2" charset="0"/>
                <a:cs typeface="Arial" panose="020B0604020202020204" pitchFamily="34" charset="0"/>
              </a:rPr>
              <a:t>Sitecore 9 with </a:t>
            </a:r>
            <a:r>
              <a:rPr lang="en-US" sz="675" dirty="0" err="1">
                <a:solidFill>
                  <a:schemeClr val="tx2"/>
                </a:solidFill>
                <a:latin typeface="Arial" panose="020B0604020202020204" pitchFamily="34" charset="0"/>
                <a:ea typeface="Roboto Light" panose="02000000000000000000" pitchFamily="2" charset="0"/>
                <a:cs typeface="Arial" panose="020B0604020202020204" pitchFamily="34" charset="0"/>
              </a:rPr>
              <a:t>Xconnect</a:t>
            </a:r>
            <a:endParaRPr lang="en-US" sz="675" dirty="0">
              <a:solidFill>
                <a:schemeClr val="tx2"/>
              </a:solidFill>
              <a:latin typeface="Arial" panose="020B0604020202020204" pitchFamily="34" charset="0"/>
              <a:ea typeface="Roboto Light" panose="02000000000000000000" pitchFamily="2" charset="0"/>
              <a:cs typeface="Arial" panose="020B0604020202020204" pitchFamily="34" charset="0"/>
            </a:endParaRPr>
          </a:p>
        </p:txBody>
      </p:sp>
      <p:sp>
        <p:nvSpPr>
          <p:cNvPr id="23" name="Text Placeholder 32">
            <a:extLst>
              <a:ext uri="{FF2B5EF4-FFF2-40B4-BE49-F238E27FC236}">
                <a16:creationId xmlns:a16="http://schemas.microsoft.com/office/drawing/2014/main" id="{42D4C6CC-AE78-41FA-9A8D-BBD1A8E0F8E0}"/>
              </a:ext>
            </a:extLst>
          </p:cNvPr>
          <p:cNvSpPr txBox="1">
            <a:spLocks/>
          </p:cNvSpPr>
          <p:nvPr/>
        </p:nvSpPr>
        <p:spPr>
          <a:xfrm>
            <a:off x="5790533" y="4389335"/>
            <a:ext cx="2532185" cy="305009"/>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spcBef>
                <a:spcPts val="0"/>
              </a:spcBef>
              <a:buNone/>
            </a:pPr>
            <a:r>
              <a:rPr lang="en-US" sz="675" dirty="0">
                <a:solidFill>
                  <a:schemeClr val="tx2"/>
                </a:solidFill>
                <a:latin typeface="Arial" panose="020B0604020202020204" pitchFamily="34" charset="0"/>
                <a:ea typeface="Roboto Light" panose="02000000000000000000" pitchFamily="2" charset="0"/>
                <a:cs typeface="Arial" panose="020B0604020202020204" pitchFamily="34" charset="0"/>
              </a:rPr>
              <a:t>MVC Site</a:t>
            </a:r>
          </a:p>
          <a:p>
            <a:pPr marL="0" indent="0">
              <a:lnSpc>
                <a:spcPct val="130000"/>
              </a:lnSpc>
              <a:spcBef>
                <a:spcPts val="0"/>
              </a:spcBef>
              <a:buNone/>
            </a:pPr>
            <a:r>
              <a:rPr lang="en-US" sz="675" dirty="0">
                <a:solidFill>
                  <a:schemeClr val="tx2"/>
                </a:solidFill>
                <a:latin typeface="Arial" panose="020B0604020202020204" pitchFamily="34" charset="0"/>
                <a:ea typeface="Roboto Light" panose="02000000000000000000" pitchFamily="2" charset="0"/>
                <a:cs typeface="Arial" panose="020B0604020202020204" pitchFamily="34" charset="0"/>
              </a:rPr>
              <a:t>Admin Portal with profile management</a:t>
            </a:r>
          </a:p>
        </p:txBody>
      </p:sp>
      <p:sp>
        <p:nvSpPr>
          <p:cNvPr id="26" name="Text Placeholder 32">
            <a:extLst>
              <a:ext uri="{FF2B5EF4-FFF2-40B4-BE49-F238E27FC236}">
                <a16:creationId xmlns:a16="http://schemas.microsoft.com/office/drawing/2014/main" id="{C95AAD69-53C4-4E87-83CF-26AFD75A3A76}"/>
              </a:ext>
            </a:extLst>
          </p:cNvPr>
          <p:cNvSpPr txBox="1">
            <a:spLocks/>
          </p:cNvSpPr>
          <p:nvPr/>
        </p:nvSpPr>
        <p:spPr>
          <a:xfrm>
            <a:off x="6296626" y="1861721"/>
            <a:ext cx="1799331" cy="305009"/>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spcBef>
                <a:spcPts val="0"/>
              </a:spcBef>
              <a:buNone/>
            </a:pPr>
            <a:r>
              <a:rPr lang="en-US" sz="675" dirty="0">
                <a:solidFill>
                  <a:schemeClr val="tx2"/>
                </a:solidFill>
                <a:latin typeface="Arial" panose="020B0604020202020204" pitchFamily="34" charset="0"/>
                <a:ea typeface="Roboto Light" panose="02000000000000000000" pitchFamily="2" charset="0"/>
                <a:cs typeface="Arial" panose="020B0604020202020204" pitchFamily="34" charset="0"/>
              </a:rPr>
              <a:t>UWP Camera App with OCR &amp; Face Detection</a:t>
            </a:r>
          </a:p>
        </p:txBody>
      </p:sp>
    </p:spTree>
    <p:extLst>
      <p:ext uri="{BB962C8B-B14F-4D97-AF65-F5344CB8AC3E}">
        <p14:creationId xmlns:p14="http://schemas.microsoft.com/office/powerpoint/2010/main" val="3871393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4CA37C95-3A7F-4C90-9D28-0B573484ACDD}" type="slidenum">
              <a:rPr lang="en-US" smtClean="0">
                <a:gradFill>
                  <a:gsLst>
                    <a:gs pos="7258">
                      <a:schemeClr val="bg1"/>
                    </a:gs>
                    <a:gs pos="19000">
                      <a:schemeClr val="bg1"/>
                    </a:gs>
                  </a:gsLst>
                  <a:lin ang="5400000" scaled="1"/>
                </a:gradFill>
              </a:rPr>
              <a:pPr/>
              <a:t>11</a:t>
            </a:fld>
            <a:endParaRPr lang="en-US">
              <a:gradFill>
                <a:gsLst>
                  <a:gs pos="7258">
                    <a:schemeClr val="bg1"/>
                  </a:gs>
                  <a:gs pos="19000">
                    <a:schemeClr val="bg1"/>
                  </a:gs>
                </a:gsLst>
                <a:lin ang="5400000" scaled="1"/>
              </a:gradFill>
            </a:endParaRPr>
          </a:p>
        </p:txBody>
      </p:sp>
      <p:sp>
        <p:nvSpPr>
          <p:cNvPr id="15" name="TextBox 14"/>
          <p:cNvSpPr txBox="1"/>
          <p:nvPr/>
        </p:nvSpPr>
        <p:spPr>
          <a:xfrm>
            <a:off x="287792" y="4800737"/>
            <a:ext cx="592470" cy="138499"/>
          </a:xfrm>
          <a:prstGeom prst="rect">
            <a:avLst/>
          </a:prstGeom>
          <a:noFill/>
        </p:spPr>
        <p:txBody>
          <a:bodyPr wrap="none" lIns="0" bIns="0" rtlCol="0" anchor="b" anchorCtr="0">
            <a:spAutoFit/>
          </a:bodyPr>
          <a:lstStyle/>
          <a:p>
            <a:pPr defTabSz="685755"/>
            <a:r>
              <a:rPr lang="en-AU" sz="600" spc="75">
                <a:gradFill>
                  <a:gsLst>
                    <a:gs pos="7258">
                      <a:schemeClr val="bg1"/>
                    </a:gs>
                    <a:gs pos="19000">
                      <a:schemeClr val="bg1"/>
                    </a:gs>
                  </a:gsLst>
                  <a:lin ang="5400000" scaled="1"/>
                </a:gradFill>
                <a:latin typeface="Arial" panose="020B0604020202020204" pitchFamily="34" charset="0"/>
                <a:ea typeface="Roboto Light" panose="02000000000000000000" pitchFamily="2" charset="0"/>
                <a:cs typeface="Arial" panose="020B0604020202020204" pitchFamily="34" charset="0"/>
              </a:rPr>
              <a:t>slalom.com</a:t>
            </a:r>
          </a:p>
        </p:txBody>
      </p:sp>
      <p:pic>
        <p:nvPicPr>
          <p:cNvPr id="3074" name="Picture 2" descr="Image result for dilbert webbish">
            <a:extLst>
              <a:ext uri="{FF2B5EF4-FFF2-40B4-BE49-F238E27FC236}">
                <a16:creationId xmlns:a16="http://schemas.microsoft.com/office/drawing/2014/main" id="{0E001BA7-7CD5-4ABB-B1B2-62501880197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7303" y="1753320"/>
            <a:ext cx="6096000" cy="1905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75D289C3-2E8D-4104-AAE2-447448C9278C}"/>
              </a:ext>
            </a:extLst>
          </p:cNvPr>
          <p:cNvSpPr/>
          <p:nvPr/>
        </p:nvSpPr>
        <p:spPr>
          <a:xfrm>
            <a:off x="3763910" y="958371"/>
            <a:ext cx="1742785" cy="461665"/>
          </a:xfrm>
          <a:prstGeom prst="rect">
            <a:avLst/>
          </a:prstGeom>
        </p:spPr>
        <p:txBody>
          <a:bodyPr wrap="none">
            <a:spAutoFit/>
          </a:bodyPr>
          <a:lstStyle/>
          <a:p>
            <a:r>
              <a:rPr lang="en-US" sz="2400" dirty="0">
                <a:solidFill>
                  <a:schemeClr val="bg1"/>
                </a:solidFill>
              </a:rPr>
              <a:t>Questions?</a:t>
            </a:r>
          </a:p>
        </p:txBody>
      </p:sp>
    </p:spTree>
    <p:extLst>
      <p:ext uri="{BB962C8B-B14F-4D97-AF65-F5344CB8AC3E}">
        <p14:creationId xmlns:p14="http://schemas.microsoft.com/office/powerpoint/2010/main" val="39498679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FCEE2C88-6C8F-484D-AF69-578F576B1F44}" type="slidenum">
              <a:rPr lang="en-US" smtClean="0"/>
              <a:pPr/>
              <a:t>12</a:t>
            </a:fld>
            <a:endParaRPr lang="en-US"/>
          </a:p>
        </p:txBody>
      </p:sp>
    </p:spTree>
    <p:extLst>
      <p:ext uri="{BB962C8B-B14F-4D97-AF65-F5344CB8AC3E}">
        <p14:creationId xmlns:p14="http://schemas.microsoft.com/office/powerpoint/2010/main" val="19166488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3" cstate="print">
            <a:extLst>
              <a:ext uri="{28A0092B-C50C-407E-A947-70E740481C1C}">
                <a14:useLocalDpi xmlns:a14="http://schemas.microsoft.com/office/drawing/2010/main" val="0"/>
              </a:ext>
            </a:extLst>
          </a:blip>
          <a:srcRect l="2730" t="32243" r="3196" b="32662"/>
          <a:stretch/>
        </p:blipFill>
        <p:spPr>
          <a:xfrm>
            <a:off x="-33338" y="-2"/>
            <a:ext cx="9191625" cy="5143500"/>
          </a:xfrm>
          <a:prstGeom prst="rect">
            <a:avLst/>
          </a:prstGeom>
        </p:spPr>
      </p:pic>
      <p:sp>
        <p:nvSpPr>
          <p:cNvPr id="11" name="Rectangle 10"/>
          <p:cNvSpPr/>
          <p:nvPr/>
        </p:nvSpPr>
        <p:spPr>
          <a:xfrm>
            <a:off x="-33337" y="1"/>
            <a:ext cx="9184594" cy="5143501"/>
          </a:xfrm>
          <a:prstGeom prst="rect">
            <a:avLst/>
          </a:prstGeom>
          <a:gradFill flip="none" rotWithShape="1">
            <a:gsLst>
              <a:gs pos="57755">
                <a:srgbClr val="00669B">
                  <a:alpha val="80000"/>
                </a:srgbClr>
              </a:gs>
              <a:gs pos="15000">
                <a:srgbClr val="2B2C72">
                  <a:alpha val="95000"/>
                </a:srgbClr>
              </a:gs>
              <a:gs pos="100000">
                <a:srgbClr val="6DC2D9">
                  <a:alpha val="60000"/>
                </a:srgbClr>
              </a:gs>
            </a:gsLst>
            <a:lin ang="18900000" scaled="1"/>
            <a:tileRect/>
          </a:gradFill>
          <a:ln w="25400" cap="flat" cmpd="sng" algn="ctr">
            <a:noFill/>
            <a:prstDash val="solid"/>
          </a:ln>
          <a:effectLst/>
        </p:spPr>
        <p:txBody>
          <a:bodyPr lIns="91440" tIns="91440" rIns="91440" bIns="91440" rtlCol="0" anchor="ctr" anchorCtr="0"/>
          <a:lstStyle/>
          <a:p>
            <a:pPr algn="ctr" defTabSz="914378"/>
            <a:endParaRPr lang="en-US" kern="0">
              <a:gradFill>
                <a:gsLst>
                  <a:gs pos="0">
                    <a:srgbClr val="FFFFFF"/>
                  </a:gs>
                  <a:gs pos="98000">
                    <a:srgbClr val="FFFFFF"/>
                  </a:gs>
                </a:gsLst>
                <a:lin ang="5400000" scaled="0"/>
              </a:gradFill>
              <a:latin typeface="Arial" panose="020B0604020202020204"/>
              <a:ea typeface="Segoe UI Black" panose="020B0A02040204020203" pitchFamily="34" charset="0"/>
              <a:cs typeface="Segoe UI Black" panose="020B0A02040204020203" pitchFamily="34" charset="0"/>
            </a:endParaRPr>
          </a:p>
        </p:txBody>
      </p:sp>
      <p:sp>
        <p:nvSpPr>
          <p:cNvPr id="2" name="Slide Number Placeholder 1"/>
          <p:cNvSpPr>
            <a:spLocks noGrp="1"/>
          </p:cNvSpPr>
          <p:nvPr>
            <p:ph type="sldNum" sz="quarter" idx="12"/>
          </p:nvPr>
        </p:nvSpPr>
        <p:spPr/>
        <p:txBody>
          <a:bodyPr/>
          <a:lstStyle/>
          <a:p>
            <a:fld id="{FCEE2C88-6C8F-484D-AF69-578F576B1F44}" type="slidenum">
              <a:rPr lang="en-US" smtClean="0"/>
              <a:pPr/>
              <a:t>2</a:t>
            </a:fld>
            <a:endParaRPr lang="en-US"/>
          </a:p>
        </p:txBody>
      </p:sp>
      <p:sp>
        <p:nvSpPr>
          <p:cNvPr id="13" name="Title 12"/>
          <p:cNvSpPr>
            <a:spLocks noGrp="1"/>
          </p:cNvSpPr>
          <p:nvPr>
            <p:ph type="title"/>
          </p:nvPr>
        </p:nvSpPr>
        <p:spPr/>
        <p:txBody>
          <a:bodyPr/>
          <a:lstStyle/>
          <a:p>
            <a:r>
              <a:rPr lang="en-US" dirty="0"/>
              <a:t>First, what’s </a:t>
            </a:r>
            <a:r>
              <a:rPr lang="en-US" dirty="0" err="1"/>
              <a:t>Xconnect</a:t>
            </a:r>
            <a:r>
              <a:rPr lang="en-US" dirty="0"/>
              <a:t>?</a:t>
            </a:r>
          </a:p>
        </p:txBody>
      </p:sp>
      <p:sp>
        <p:nvSpPr>
          <p:cNvPr id="14" name="Text Placeholder 13"/>
          <p:cNvSpPr>
            <a:spLocks noGrp="1"/>
          </p:cNvSpPr>
          <p:nvPr>
            <p:ph type="body" sz="quarter" idx="15"/>
          </p:nvPr>
        </p:nvSpPr>
        <p:spPr/>
        <p:txBody>
          <a:bodyPr/>
          <a:lstStyle/>
          <a:p>
            <a:r>
              <a:rPr lang="en-US" dirty="0"/>
              <a:t>Really, it’s just a REST API, with one purpose: to capture and report analytics and user experience data.</a:t>
            </a:r>
          </a:p>
          <a:p>
            <a:r>
              <a:rPr lang="en-US" dirty="0"/>
              <a:t>But for Sitecore, this one purpose enables new opportunities.</a:t>
            </a:r>
            <a:endParaRPr lang="en-US" spc="50" dirty="0"/>
          </a:p>
        </p:txBody>
      </p:sp>
      <p:sp>
        <p:nvSpPr>
          <p:cNvPr id="15" name="TextBox 14"/>
          <p:cNvSpPr txBox="1"/>
          <p:nvPr/>
        </p:nvSpPr>
        <p:spPr>
          <a:xfrm>
            <a:off x="287792" y="4800737"/>
            <a:ext cx="592470" cy="138499"/>
          </a:xfrm>
          <a:prstGeom prst="rect">
            <a:avLst/>
          </a:prstGeom>
          <a:noFill/>
        </p:spPr>
        <p:txBody>
          <a:bodyPr wrap="none" lIns="0" bIns="0" rtlCol="0" anchor="b" anchorCtr="0">
            <a:spAutoFit/>
          </a:bodyPr>
          <a:lstStyle/>
          <a:p>
            <a:pPr defTabSz="685755"/>
            <a:r>
              <a:rPr lang="en-AU" sz="600" spc="75" dirty="0">
                <a:gradFill>
                  <a:gsLst>
                    <a:gs pos="7258">
                      <a:schemeClr val="bg1"/>
                    </a:gs>
                    <a:gs pos="19000">
                      <a:schemeClr val="bg1"/>
                    </a:gs>
                  </a:gsLst>
                  <a:lin ang="5400000" scaled="1"/>
                </a:gradFill>
                <a:latin typeface="Arial" panose="020B0604020202020204" pitchFamily="34" charset="0"/>
                <a:ea typeface="Roboto Light" panose="02000000000000000000" pitchFamily="2" charset="0"/>
                <a:cs typeface="Arial" panose="020B0604020202020204" pitchFamily="34" charset="0"/>
              </a:rPr>
              <a:t>slalom.com</a:t>
            </a:r>
          </a:p>
        </p:txBody>
      </p:sp>
    </p:spTree>
    <p:extLst>
      <p:ext uri="{BB962C8B-B14F-4D97-AF65-F5344CB8AC3E}">
        <p14:creationId xmlns:p14="http://schemas.microsoft.com/office/powerpoint/2010/main" val="29626634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4"/>
          <p:cNvSpPr txBox="1">
            <a:spLocks/>
          </p:cNvSpPr>
          <p:nvPr/>
        </p:nvSpPr>
        <p:spPr>
          <a:xfrm>
            <a:off x="284237" y="1781113"/>
            <a:ext cx="8575526" cy="1300184"/>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766">
              <a:lnSpc>
                <a:spcPts val="4040"/>
              </a:lnSpc>
              <a:spcBef>
                <a:spcPct val="0"/>
              </a:spcBef>
              <a:buNone/>
            </a:pPr>
            <a:endParaRPr lang="en-US" sz="3200" b="1" spc="-20" dirty="0">
              <a:solidFill>
                <a:schemeClr val="accent2"/>
              </a:solidFill>
              <a:latin typeface="Arial" panose="020B0604020202020204" pitchFamily="34" charset="0"/>
              <a:ea typeface="Roboto Medium" panose="02000000000000000000" pitchFamily="2" charset="0"/>
              <a:cs typeface="Arial" panose="020B0604020202020204" pitchFamily="34" charset="0"/>
            </a:endParaRPr>
          </a:p>
        </p:txBody>
      </p:sp>
      <p:sp>
        <p:nvSpPr>
          <p:cNvPr id="5" name="Slide Number Placeholder 4"/>
          <p:cNvSpPr>
            <a:spLocks noGrp="1"/>
          </p:cNvSpPr>
          <p:nvPr>
            <p:ph type="sldNum" sz="quarter" idx="12"/>
          </p:nvPr>
        </p:nvSpPr>
        <p:spPr/>
        <p:txBody>
          <a:bodyPr/>
          <a:lstStyle/>
          <a:p>
            <a:fld id="{FCEE2C88-6C8F-484D-AF69-578F576B1F44}" type="slidenum">
              <a:rPr lang="en-US" smtClean="0"/>
              <a:pPr/>
              <a:t>3</a:t>
            </a:fld>
            <a:endParaRPr lang="en-US"/>
          </a:p>
        </p:txBody>
      </p:sp>
      <p:pic>
        <p:nvPicPr>
          <p:cNvPr id="4" name="Picture 3">
            <a:extLst>
              <a:ext uri="{FF2B5EF4-FFF2-40B4-BE49-F238E27FC236}">
                <a16:creationId xmlns:a16="http://schemas.microsoft.com/office/drawing/2014/main" id="{56D7652C-4ED5-4CB3-9E69-6879F8052D25}"/>
              </a:ext>
            </a:extLst>
          </p:cNvPr>
          <p:cNvPicPr>
            <a:picLocks noChangeAspect="1"/>
          </p:cNvPicPr>
          <p:nvPr/>
        </p:nvPicPr>
        <p:blipFill>
          <a:blip r:embed="rId3"/>
          <a:stretch>
            <a:fillRect/>
          </a:stretch>
        </p:blipFill>
        <p:spPr>
          <a:xfrm>
            <a:off x="727202" y="789909"/>
            <a:ext cx="7602413" cy="3754751"/>
          </a:xfrm>
          <a:prstGeom prst="rect">
            <a:avLst/>
          </a:prstGeom>
        </p:spPr>
      </p:pic>
      <p:sp>
        <p:nvSpPr>
          <p:cNvPr id="6" name="TextBox 5">
            <a:extLst>
              <a:ext uri="{FF2B5EF4-FFF2-40B4-BE49-F238E27FC236}">
                <a16:creationId xmlns:a16="http://schemas.microsoft.com/office/drawing/2014/main" id="{A46768D0-2CD4-49FA-BE30-B4E00ECE9892}"/>
              </a:ext>
            </a:extLst>
          </p:cNvPr>
          <p:cNvSpPr txBox="1"/>
          <p:nvPr/>
        </p:nvSpPr>
        <p:spPr>
          <a:xfrm>
            <a:off x="6988738" y="4429244"/>
            <a:ext cx="1871025" cy="230832"/>
          </a:xfrm>
          <a:prstGeom prst="rect">
            <a:avLst/>
          </a:prstGeom>
          <a:noFill/>
        </p:spPr>
        <p:txBody>
          <a:bodyPr wrap="none" rtlCol="0">
            <a:spAutoFit/>
          </a:bodyPr>
          <a:lstStyle/>
          <a:p>
            <a:r>
              <a:rPr lang="en-US" sz="900" dirty="0"/>
              <a:t>Sitecore 9 Partners Intro webinar</a:t>
            </a:r>
          </a:p>
        </p:txBody>
      </p:sp>
    </p:spTree>
    <p:extLst>
      <p:ext uri="{BB962C8B-B14F-4D97-AF65-F5344CB8AC3E}">
        <p14:creationId xmlns:p14="http://schemas.microsoft.com/office/powerpoint/2010/main" val="11432308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p:cNvPicPr>
            <a:picLocks noChangeAspect="1"/>
          </p:cNvPicPr>
          <p:nvPr/>
        </p:nvPicPr>
        <p:blipFill rotWithShape="1">
          <a:blip r:embed="rId3" cstate="print">
            <a:extLst>
              <a:ext uri="{28A0092B-C50C-407E-A947-70E740481C1C}">
                <a14:useLocalDpi xmlns:a14="http://schemas.microsoft.com/office/drawing/2010/main" val="0"/>
              </a:ext>
            </a:extLst>
          </a:blip>
          <a:srcRect l="4691" t="614" r="8714" b="1234"/>
          <a:stretch/>
        </p:blipFill>
        <p:spPr>
          <a:xfrm>
            <a:off x="0" y="-4898"/>
            <a:ext cx="9134475" cy="5176838"/>
          </a:xfrm>
          <a:prstGeom prst="rect">
            <a:avLst/>
          </a:prstGeom>
        </p:spPr>
      </p:pic>
      <p:sp>
        <p:nvSpPr>
          <p:cNvPr id="14" name="Text Placeholder 2"/>
          <p:cNvSpPr txBox="1">
            <a:spLocks/>
          </p:cNvSpPr>
          <p:nvPr/>
        </p:nvSpPr>
        <p:spPr>
          <a:xfrm>
            <a:off x="1913993" y="467580"/>
            <a:ext cx="5316014" cy="1171801"/>
          </a:xfrm>
          <a:prstGeom prst="rect">
            <a:avLst/>
          </a:prstGeom>
          <a:ln w="6350">
            <a:noFill/>
          </a:ln>
        </p:spPr>
        <p:txBody>
          <a:bodyPr lIns="182880" tIns="182880" bIns="182880">
            <a:noAutofit/>
          </a:bodyPr>
          <a:lstStyle>
            <a:lvl1pPr marL="173038" indent="-173038" algn="l" defTabSz="914400" rtl="0" eaLnBrk="1" latinLnBrk="0" hangingPunct="1">
              <a:lnSpc>
                <a:spcPct val="90000"/>
              </a:lnSpc>
              <a:spcBef>
                <a:spcPts val="1200"/>
              </a:spcBef>
              <a:buClr>
                <a:srgbClr val="0072C8"/>
              </a:buClr>
              <a:buSzPct val="110000"/>
              <a:buFont typeface="Wingdings" panose="05000000000000000000" pitchFamily="2" charset="2"/>
              <a:buChar char="§"/>
              <a:defRPr lang="en-US" sz="1600" kern="1200" spc="0" baseline="0" dirty="0" smtClean="0">
                <a:gradFill>
                  <a:gsLst>
                    <a:gs pos="0">
                      <a:schemeClr val="tx1"/>
                    </a:gs>
                    <a:gs pos="98000">
                      <a:schemeClr val="tx1"/>
                    </a:gs>
                  </a:gsLst>
                  <a:lin ang="5400000" scaled="0"/>
                </a:gradFill>
                <a:latin typeface="Arial" panose="020B0604020202020204" pitchFamily="34" charset="0"/>
                <a:ea typeface="+mn-ea"/>
                <a:cs typeface="Arial" panose="020B0604020202020204" pitchFamily="34" charset="0"/>
              </a:defRPr>
            </a:lvl1pPr>
            <a:lvl2pPr marL="323850" indent="-150813" algn="l" defTabSz="914400" rtl="0" eaLnBrk="1" latinLnBrk="0" hangingPunct="1">
              <a:lnSpc>
                <a:spcPct val="90000"/>
              </a:lnSpc>
              <a:spcBef>
                <a:spcPts val="600"/>
              </a:spcBef>
              <a:buClr>
                <a:srgbClr val="CDCDCD"/>
              </a:buClr>
              <a:buSzPct val="110000"/>
              <a:buFont typeface="Wingdings" panose="05000000000000000000" pitchFamily="2" charset="2"/>
              <a:buChar char="§"/>
              <a:defRPr lang="en-US" sz="1400" kern="1200" spc="0" baseline="0" dirty="0" smtClean="0">
                <a:gradFill>
                  <a:gsLst>
                    <a:gs pos="0">
                      <a:schemeClr val="tx1"/>
                    </a:gs>
                    <a:gs pos="98000">
                      <a:schemeClr val="tx1"/>
                    </a:gs>
                  </a:gsLst>
                  <a:lin ang="5400000" scaled="0"/>
                </a:gradFill>
                <a:latin typeface="Arial" panose="020B0604020202020204" pitchFamily="34" charset="0"/>
                <a:ea typeface="+mn-ea"/>
                <a:cs typeface="Arial" panose="020B0604020202020204" pitchFamily="34" charset="0"/>
              </a:defRPr>
            </a:lvl2pPr>
            <a:lvl3pPr marL="457200" indent="-133350" algn="l" defTabSz="914400" rtl="0" eaLnBrk="1" latinLnBrk="0" hangingPunct="1">
              <a:lnSpc>
                <a:spcPct val="90000"/>
              </a:lnSpc>
              <a:spcBef>
                <a:spcPts val="400"/>
              </a:spcBef>
              <a:buClr>
                <a:srgbClr val="CDCDCD"/>
              </a:buClr>
              <a:buSzPct val="110000"/>
              <a:buFont typeface="Wingdings" panose="05000000000000000000" pitchFamily="2" charset="2"/>
              <a:buChar char="§"/>
              <a:defRPr lang="en-US" sz="1200" kern="1200" spc="0" baseline="0" dirty="0" smtClean="0">
                <a:gradFill>
                  <a:gsLst>
                    <a:gs pos="0">
                      <a:schemeClr val="tx1"/>
                    </a:gs>
                    <a:gs pos="98000">
                      <a:schemeClr val="tx1"/>
                    </a:gs>
                  </a:gsLst>
                  <a:lin ang="5400000" scaled="0"/>
                </a:gradFill>
                <a:latin typeface="Arial" panose="020B0604020202020204" pitchFamily="34" charset="0"/>
                <a:ea typeface="+mn-ea"/>
                <a:cs typeface="Arial" panose="020B0604020202020204" pitchFamily="34" charset="0"/>
              </a:defRPr>
            </a:lvl3pPr>
            <a:lvl4pPr marL="590550" indent="-133350" algn="l" defTabSz="914400" rtl="0" eaLnBrk="1" latinLnBrk="0" hangingPunct="1">
              <a:lnSpc>
                <a:spcPct val="90000"/>
              </a:lnSpc>
              <a:spcBef>
                <a:spcPts val="300"/>
              </a:spcBef>
              <a:buClr>
                <a:srgbClr val="CDCDCD"/>
              </a:buClr>
              <a:buSzPct val="110000"/>
              <a:buFont typeface="Wingdings" panose="05000000000000000000" pitchFamily="2" charset="2"/>
              <a:buChar char="§"/>
              <a:defRPr lang="en-US" sz="1100" kern="1200" spc="0" baseline="0" dirty="0" smtClean="0">
                <a:gradFill>
                  <a:gsLst>
                    <a:gs pos="0">
                      <a:schemeClr val="tx1"/>
                    </a:gs>
                    <a:gs pos="98000">
                      <a:schemeClr val="tx1"/>
                    </a:gs>
                  </a:gsLst>
                  <a:lin ang="5400000" scaled="0"/>
                </a:gradFill>
                <a:latin typeface="Arial" panose="020B0604020202020204" pitchFamily="34" charset="0"/>
                <a:ea typeface="+mn-ea"/>
                <a:cs typeface="Arial" panose="020B0604020202020204" pitchFamily="34" charset="0"/>
              </a:defRPr>
            </a:lvl4pPr>
            <a:lvl5pPr marL="704850" indent="-111125" algn="l" defTabSz="914400" rtl="0" eaLnBrk="1" latinLnBrk="0" hangingPunct="1">
              <a:lnSpc>
                <a:spcPct val="90000"/>
              </a:lnSpc>
              <a:spcBef>
                <a:spcPts val="300"/>
              </a:spcBef>
              <a:buClr>
                <a:srgbClr val="CDCDCD"/>
              </a:buClr>
              <a:buSzPct val="110000"/>
              <a:buFont typeface="Wingdings" panose="05000000000000000000" pitchFamily="2" charset="2"/>
              <a:buChar char="§"/>
              <a:defRPr lang="en-US" sz="1100" kern="1200" spc="0" baseline="0" dirty="0">
                <a:gradFill>
                  <a:gsLst>
                    <a:gs pos="0">
                      <a:schemeClr val="tx1"/>
                    </a:gs>
                    <a:gs pos="98000">
                      <a:schemeClr val="tx1"/>
                    </a:gs>
                  </a:gsLst>
                  <a:lin ang="5400000" scaled="0"/>
                </a:gra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buNone/>
              <a:defRPr/>
            </a:pPr>
            <a:r>
              <a:rPr lang="en-US" sz="2400" spc="-80" dirty="0">
                <a:solidFill>
                  <a:schemeClr val="bg1"/>
                </a:solidFill>
                <a:ea typeface="Roboto Medium" panose="02000000000000000000" pitchFamily="2" charset="0"/>
              </a:rPr>
              <a:t>Well now it can.</a:t>
            </a:r>
          </a:p>
          <a:p>
            <a:pPr marL="0" lvl="0" indent="0" algn="ctr">
              <a:buNone/>
              <a:defRPr/>
            </a:pPr>
            <a:r>
              <a:rPr lang="en-US" sz="1100" kern="0" spc="50" dirty="0">
                <a:solidFill>
                  <a:schemeClr val="bg1"/>
                </a:solidFill>
                <a:latin typeface="Arial"/>
                <a:ea typeface="Apex New Light" pitchFamily="50" charset="0"/>
                <a:cs typeface="TradeGothic Bold"/>
              </a:rPr>
              <a:t>Sitecore 8 </a:t>
            </a:r>
            <a:r>
              <a:rPr lang="en-US" sz="1100" kern="0" spc="50" dirty="0" err="1">
                <a:solidFill>
                  <a:schemeClr val="bg1"/>
                </a:solidFill>
                <a:latin typeface="Arial"/>
                <a:ea typeface="Apex New Light" pitchFamily="50" charset="0"/>
                <a:cs typeface="TradeGothic Bold"/>
              </a:rPr>
              <a:t>xDB</a:t>
            </a:r>
            <a:r>
              <a:rPr lang="en-US" sz="1100" kern="0" spc="50" dirty="0">
                <a:solidFill>
                  <a:schemeClr val="bg1"/>
                </a:solidFill>
                <a:latin typeface="Arial"/>
                <a:ea typeface="Apex New Light" pitchFamily="50" charset="0"/>
                <a:cs typeface="TradeGothic Bold"/>
              </a:rPr>
              <a:t> had good intentions, but admittedly also a few short comings. They all have been redesigned and ready to use in Sitecore 9.</a:t>
            </a:r>
          </a:p>
        </p:txBody>
      </p:sp>
      <p:sp>
        <p:nvSpPr>
          <p:cNvPr id="64" name="Strategy &amp; Operations List"/>
          <p:cNvSpPr/>
          <p:nvPr/>
        </p:nvSpPr>
        <p:spPr>
          <a:xfrm>
            <a:off x="511642" y="2637501"/>
            <a:ext cx="1485311" cy="443198"/>
          </a:xfrm>
          <a:prstGeom prst="rect">
            <a:avLst/>
          </a:prstGeom>
          <a:noFill/>
          <a:ln>
            <a:noFill/>
          </a:ln>
        </p:spPr>
        <p:txBody>
          <a:bodyPr wrap="square" lIns="89154" tIns="68580" rIns="68580" bIns="68580">
            <a:spAutoFit/>
          </a:bodyPr>
          <a:lstStyle/>
          <a:p>
            <a:pPr algn="ctr" defTabSz="914340">
              <a:lnSpc>
                <a:spcPct val="90000"/>
              </a:lnSpc>
            </a:pPr>
            <a:r>
              <a:rPr lang="fr-FR" sz="1100" kern="0" spc="50" dirty="0" err="1">
                <a:solidFill>
                  <a:schemeClr val="bg1"/>
                </a:solidFill>
                <a:ea typeface="Apex New Light" pitchFamily="50" charset="0"/>
                <a:cs typeface="TradeGothic Bold"/>
              </a:rPr>
              <a:t>Easy</a:t>
            </a:r>
            <a:r>
              <a:rPr lang="fr-FR" sz="1100" kern="0" spc="50" dirty="0">
                <a:solidFill>
                  <a:schemeClr val="bg1"/>
                </a:solidFill>
                <a:ea typeface="Apex New Light" pitchFamily="50" charset="0"/>
                <a:cs typeface="TradeGothic Bold"/>
              </a:rPr>
              <a:t> to </a:t>
            </a:r>
            <a:r>
              <a:rPr lang="fr-FR" sz="1100" kern="0" spc="50" dirty="0" err="1">
                <a:solidFill>
                  <a:schemeClr val="bg1"/>
                </a:solidFill>
                <a:ea typeface="Apex New Light" pitchFamily="50" charset="0"/>
                <a:cs typeface="TradeGothic Bold"/>
              </a:rPr>
              <a:t>implement</a:t>
            </a:r>
            <a:r>
              <a:rPr lang="fr-FR" sz="1100" kern="0" spc="50" dirty="0">
                <a:solidFill>
                  <a:schemeClr val="bg1"/>
                </a:solidFill>
                <a:ea typeface="Apex New Light" pitchFamily="50" charset="0"/>
                <a:cs typeface="TradeGothic Bold"/>
              </a:rPr>
              <a:t>, </a:t>
            </a:r>
            <a:r>
              <a:rPr lang="fr-FR" sz="1100" kern="0" spc="50" dirty="0" err="1">
                <a:solidFill>
                  <a:schemeClr val="bg1"/>
                </a:solidFill>
                <a:ea typeface="Apex New Light" pitchFamily="50" charset="0"/>
                <a:cs typeface="TradeGothic Bold"/>
              </a:rPr>
              <a:t>easy</a:t>
            </a:r>
            <a:r>
              <a:rPr lang="fr-FR" sz="1100" kern="0" spc="50" dirty="0">
                <a:solidFill>
                  <a:schemeClr val="bg1"/>
                </a:solidFill>
                <a:ea typeface="Apex New Light" pitchFamily="50" charset="0"/>
                <a:cs typeface="TradeGothic Bold"/>
              </a:rPr>
              <a:t> to use</a:t>
            </a:r>
          </a:p>
        </p:txBody>
      </p:sp>
      <p:grpSp>
        <p:nvGrpSpPr>
          <p:cNvPr id="15" name="Group 14"/>
          <p:cNvGrpSpPr/>
          <p:nvPr/>
        </p:nvGrpSpPr>
        <p:grpSpPr>
          <a:xfrm>
            <a:off x="1017573" y="2123818"/>
            <a:ext cx="454577" cy="466678"/>
            <a:chOff x="3586378" y="3202024"/>
            <a:chExt cx="346630" cy="355858"/>
          </a:xfrm>
          <a:solidFill>
            <a:schemeClr val="bg1"/>
          </a:solidFill>
        </p:grpSpPr>
        <p:sp>
          <p:nvSpPr>
            <p:cNvPr id="16" name="Freeform 395"/>
            <p:cNvSpPr>
              <a:spLocks/>
            </p:cNvSpPr>
            <p:nvPr/>
          </p:nvSpPr>
          <p:spPr bwMode="auto">
            <a:xfrm>
              <a:off x="3586378" y="3317908"/>
              <a:ext cx="99476" cy="100502"/>
            </a:xfrm>
            <a:custGeom>
              <a:avLst/>
              <a:gdLst>
                <a:gd name="T0" fmla="*/ 284 w 293"/>
                <a:gd name="T1" fmla="*/ 53 h 294"/>
                <a:gd name="T2" fmla="*/ 288 w 293"/>
                <a:gd name="T3" fmla="*/ 49 h 294"/>
                <a:gd name="T4" fmla="*/ 293 w 293"/>
                <a:gd name="T5" fmla="*/ 37 h 294"/>
                <a:gd name="T6" fmla="*/ 293 w 293"/>
                <a:gd name="T7" fmla="*/ 25 h 294"/>
                <a:gd name="T8" fmla="*/ 288 w 293"/>
                <a:gd name="T9" fmla="*/ 15 h 294"/>
                <a:gd name="T10" fmla="*/ 284 w 293"/>
                <a:gd name="T11" fmla="*/ 9 h 294"/>
                <a:gd name="T12" fmla="*/ 273 w 293"/>
                <a:gd name="T13" fmla="*/ 3 h 294"/>
                <a:gd name="T14" fmla="*/ 261 w 293"/>
                <a:gd name="T15" fmla="*/ 0 h 294"/>
                <a:gd name="T16" fmla="*/ 250 w 293"/>
                <a:gd name="T17" fmla="*/ 3 h 294"/>
                <a:gd name="T18" fmla="*/ 239 w 293"/>
                <a:gd name="T19" fmla="*/ 9 h 294"/>
                <a:gd name="T20" fmla="*/ 53 w 293"/>
                <a:gd name="T21" fmla="*/ 9 h 294"/>
                <a:gd name="T22" fmla="*/ 47 w 293"/>
                <a:gd name="T23" fmla="*/ 6 h 294"/>
                <a:gd name="T24" fmla="*/ 37 w 293"/>
                <a:gd name="T25" fmla="*/ 1 h 294"/>
                <a:gd name="T26" fmla="*/ 25 w 293"/>
                <a:gd name="T27" fmla="*/ 1 h 294"/>
                <a:gd name="T28" fmla="*/ 13 w 293"/>
                <a:gd name="T29" fmla="*/ 6 h 294"/>
                <a:gd name="T30" fmla="*/ 9 w 293"/>
                <a:gd name="T31" fmla="*/ 9 h 294"/>
                <a:gd name="T32" fmla="*/ 2 w 293"/>
                <a:gd name="T33" fmla="*/ 19 h 294"/>
                <a:gd name="T34" fmla="*/ 0 w 293"/>
                <a:gd name="T35" fmla="*/ 31 h 294"/>
                <a:gd name="T36" fmla="*/ 2 w 293"/>
                <a:gd name="T37" fmla="*/ 43 h 294"/>
                <a:gd name="T38" fmla="*/ 9 w 293"/>
                <a:gd name="T39" fmla="*/ 53 h 294"/>
                <a:gd name="T40" fmla="*/ 9 w 293"/>
                <a:gd name="T41" fmla="*/ 241 h 294"/>
                <a:gd name="T42" fmla="*/ 5 w 293"/>
                <a:gd name="T43" fmla="*/ 245 h 294"/>
                <a:gd name="T44" fmla="*/ 0 w 293"/>
                <a:gd name="T45" fmla="*/ 257 h 294"/>
                <a:gd name="T46" fmla="*/ 0 w 293"/>
                <a:gd name="T47" fmla="*/ 269 h 294"/>
                <a:gd name="T48" fmla="*/ 5 w 293"/>
                <a:gd name="T49" fmla="*/ 279 h 294"/>
                <a:gd name="T50" fmla="*/ 9 w 293"/>
                <a:gd name="T51" fmla="*/ 285 h 294"/>
                <a:gd name="T52" fmla="*/ 19 w 293"/>
                <a:gd name="T53" fmla="*/ 291 h 294"/>
                <a:gd name="T54" fmla="*/ 31 w 293"/>
                <a:gd name="T55" fmla="*/ 294 h 294"/>
                <a:gd name="T56" fmla="*/ 37 w 293"/>
                <a:gd name="T57" fmla="*/ 292 h 294"/>
                <a:gd name="T58" fmla="*/ 47 w 293"/>
                <a:gd name="T59" fmla="*/ 288 h 294"/>
                <a:gd name="T60" fmla="*/ 146 w 293"/>
                <a:gd name="T61" fmla="*/ 190 h 294"/>
                <a:gd name="T62" fmla="*/ 239 w 293"/>
                <a:gd name="T63" fmla="*/ 285 h 294"/>
                <a:gd name="T64" fmla="*/ 250 w 293"/>
                <a:gd name="T65" fmla="*/ 291 h 294"/>
                <a:gd name="T66" fmla="*/ 261 w 293"/>
                <a:gd name="T67" fmla="*/ 294 h 294"/>
                <a:gd name="T68" fmla="*/ 267 w 293"/>
                <a:gd name="T69" fmla="*/ 292 h 294"/>
                <a:gd name="T70" fmla="*/ 279 w 293"/>
                <a:gd name="T71" fmla="*/ 288 h 294"/>
                <a:gd name="T72" fmla="*/ 284 w 293"/>
                <a:gd name="T73" fmla="*/ 285 h 294"/>
                <a:gd name="T74" fmla="*/ 291 w 293"/>
                <a:gd name="T75" fmla="*/ 275 h 294"/>
                <a:gd name="T76" fmla="*/ 293 w 293"/>
                <a:gd name="T77" fmla="*/ 263 h 294"/>
                <a:gd name="T78" fmla="*/ 291 w 293"/>
                <a:gd name="T79" fmla="*/ 251 h 294"/>
                <a:gd name="T80" fmla="*/ 284 w 293"/>
                <a:gd name="T81" fmla="*/ 24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93" h="294">
                  <a:moveTo>
                    <a:pt x="191" y="146"/>
                  </a:moveTo>
                  <a:lnTo>
                    <a:pt x="284" y="53"/>
                  </a:lnTo>
                  <a:lnTo>
                    <a:pt x="284" y="53"/>
                  </a:lnTo>
                  <a:lnTo>
                    <a:pt x="288" y="49"/>
                  </a:lnTo>
                  <a:lnTo>
                    <a:pt x="291" y="43"/>
                  </a:lnTo>
                  <a:lnTo>
                    <a:pt x="293" y="37"/>
                  </a:lnTo>
                  <a:lnTo>
                    <a:pt x="293" y="31"/>
                  </a:lnTo>
                  <a:lnTo>
                    <a:pt x="293" y="25"/>
                  </a:lnTo>
                  <a:lnTo>
                    <a:pt x="291" y="19"/>
                  </a:lnTo>
                  <a:lnTo>
                    <a:pt x="288" y="15"/>
                  </a:lnTo>
                  <a:lnTo>
                    <a:pt x="284" y="9"/>
                  </a:lnTo>
                  <a:lnTo>
                    <a:pt x="284" y="9"/>
                  </a:lnTo>
                  <a:lnTo>
                    <a:pt x="279" y="6"/>
                  </a:lnTo>
                  <a:lnTo>
                    <a:pt x="273" y="3"/>
                  </a:lnTo>
                  <a:lnTo>
                    <a:pt x="267" y="1"/>
                  </a:lnTo>
                  <a:lnTo>
                    <a:pt x="261" y="0"/>
                  </a:lnTo>
                  <a:lnTo>
                    <a:pt x="256" y="1"/>
                  </a:lnTo>
                  <a:lnTo>
                    <a:pt x="250" y="3"/>
                  </a:lnTo>
                  <a:lnTo>
                    <a:pt x="245" y="6"/>
                  </a:lnTo>
                  <a:lnTo>
                    <a:pt x="239" y="9"/>
                  </a:lnTo>
                  <a:lnTo>
                    <a:pt x="146" y="103"/>
                  </a:lnTo>
                  <a:lnTo>
                    <a:pt x="53" y="9"/>
                  </a:lnTo>
                  <a:lnTo>
                    <a:pt x="53" y="9"/>
                  </a:lnTo>
                  <a:lnTo>
                    <a:pt x="47" y="6"/>
                  </a:lnTo>
                  <a:lnTo>
                    <a:pt x="43" y="3"/>
                  </a:lnTo>
                  <a:lnTo>
                    <a:pt x="37" y="1"/>
                  </a:lnTo>
                  <a:lnTo>
                    <a:pt x="31" y="0"/>
                  </a:lnTo>
                  <a:lnTo>
                    <a:pt x="25" y="1"/>
                  </a:lnTo>
                  <a:lnTo>
                    <a:pt x="19" y="3"/>
                  </a:lnTo>
                  <a:lnTo>
                    <a:pt x="13" y="6"/>
                  </a:lnTo>
                  <a:lnTo>
                    <a:pt x="9" y="9"/>
                  </a:lnTo>
                  <a:lnTo>
                    <a:pt x="9" y="9"/>
                  </a:lnTo>
                  <a:lnTo>
                    <a:pt x="5" y="15"/>
                  </a:lnTo>
                  <a:lnTo>
                    <a:pt x="2" y="19"/>
                  </a:lnTo>
                  <a:lnTo>
                    <a:pt x="0" y="25"/>
                  </a:lnTo>
                  <a:lnTo>
                    <a:pt x="0" y="31"/>
                  </a:lnTo>
                  <a:lnTo>
                    <a:pt x="0" y="37"/>
                  </a:lnTo>
                  <a:lnTo>
                    <a:pt x="2" y="43"/>
                  </a:lnTo>
                  <a:lnTo>
                    <a:pt x="5" y="49"/>
                  </a:lnTo>
                  <a:lnTo>
                    <a:pt x="9" y="53"/>
                  </a:lnTo>
                  <a:lnTo>
                    <a:pt x="102" y="146"/>
                  </a:lnTo>
                  <a:lnTo>
                    <a:pt x="9" y="241"/>
                  </a:lnTo>
                  <a:lnTo>
                    <a:pt x="9" y="241"/>
                  </a:lnTo>
                  <a:lnTo>
                    <a:pt x="5" y="245"/>
                  </a:lnTo>
                  <a:lnTo>
                    <a:pt x="2" y="251"/>
                  </a:lnTo>
                  <a:lnTo>
                    <a:pt x="0" y="257"/>
                  </a:lnTo>
                  <a:lnTo>
                    <a:pt x="0" y="263"/>
                  </a:lnTo>
                  <a:lnTo>
                    <a:pt x="0" y="269"/>
                  </a:lnTo>
                  <a:lnTo>
                    <a:pt x="2" y="275"/>
                  </a:lnTo>
                  <a:lnTo>
                    <a:pt x="5" y="279"/>
                  </a:lnTo>
                  <a:lnTo>
                    <a:pt x="9" y="285"/>
                  </a:lnTo>
                  <a:lnTo>
                    <a:pt x="9" y="285"/>
                  </a:lnTo>
                  <a:lnTo>
                    <a:pt x="13" y="288"/>
                  </a:lnTo>
                  <a:lnTo>
                    <a:pt x="19" y="291"/>
                  </a:lnTo>
                  <a:lnTo>
                    <a:pt x="25" y="292"/>
                  </a:lnTo>
                  <a:lnTo>
                    <a:pt x="31" y="294"/>
                  </a:lnTo>
                  <a:lnTo>
                    <a:pt x="31" y="294"/>
                  </a:lnTo>
                  <a:lnTo>
                    <a:pt x="37" y="292"/>
                  </a:lnTo>
                  <a:lnTo>
                    <a:pt x="43" y="291"/>
                  </a:lnTo>
                  <a:lnTo>
                    <a:pt x="47" y="288"/>
                  </a:lnTo>
                  <a:lnTo>
                    <a:pt x="53" y="285"/>
                  </a:lnTo>
                  <a:lnTo>
                    <a:pt x="146" y="190"/>
                  </a:lnTo>
                  <a:lnTo>
                    <a:pt x="239" y="285"/>
                  </a:lnTo>
                  <a:lnTo>
                    <a:pt x="239" y="285"/>
                  </a:lnTo>
                  <a:lnTo>
                    <a:pt x="245" y="288"/>
                  </a:lnTo>
                  <a:lnTo>
                    <a:pt x="250" y="291"/>
                  </a:lnTo>
                  <a:lnTo>
                    <a:pt x="256" y="292"/>
                  </a:lnTo>
                  <a:lnTo>
                    <a:pt x="261" y="294"/>
                  </a:lnTo>
                  <a:lnTo>
                    <a:pt x="261" y="294"/>
                  </a:lnTo>
                  <a:lnTo>
                    <a:pt x="267" y="292"/>
                  </a:lnTo>
                  <a:lnTo>
                    <a:pt x="273" y="291"/>
                  </a:lnTo>
                  <a:lnTo>
                    <a:pt x="279" y="288"/>
                  </a:lnTo>
                  <a:lnTo>
                    <a:pt x="284" y="285"/>
                  </a:lnTo>
                  <a:lnTo>
                    <a:pt x="284" y="285"/>
                  </a:lnTo>
                  <a:lnTo>
                    <a:pt x="288" y="279"/>
                  </a:lnTo>
                  <a:lnTo>
                    <a:pt x="291" y="275"/>
                  </a:lnTo>
                  <a:lnTo>
                    <a:pt x="293" y="269"/>
                  </a:lnTo>
                  <a:lnTo>
                    <a:pt x="293" y="263"/>
                  </a:lnTo>
                  <a:lnTo>
                    <a:pt x="293" y="257"/>
                  </a:lnTo>
                  <a:lnTo>
                    <a:pt x="291" y="251"/>
                  </a:lnTo>
                  <a:lnTo>
                    <a:pt x="288" y="245"/>
                  </a:lnTo>
                  <a:lnTo>
                    <a:pt x="284" y="241"/>
                  </a:lnTo>
                  <a:lnTo>
                    <a:pt x="191"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chemeClr val="bg1"/>
                </a:solidFill>
              </a:endParaRPr>
            </a:p>
          </p:txBody>
        </p:sp>
        <p:sp>
          <p:nvSpPr>
            <p:cNvPr id="17" name="Freeform 396"/>
            <p:cNvSpPr>
              <a:spLocks/>
            </p:cNvSpPr>
            <p:nvPr/>
          </p:nvSpPr>
          <p:spPr bwMode="auto">
            <a:xfrm>
              <a:off x="3770974" y="3458406"/>
              <a:ext cx="100502" cy="99476"/>
            </a:xfrm>
            <a:custGeom>
              <a:avLst/>
              <a:gdLst>
                <a:gd name="T0" fmla="*/ 284 w 294"/>
                <a:gd name="T1" fmla="*/ 53 h 292"/>
                <a:gd name="T2" fmla="*/ 288 w 294"/>
                <a:gd name="T3" fmla="*/ 47 h 292"/>
                <a:gd name="T4" fmla="*/ 293 w 294"/>
                <a:gd name="T5" fmla="*/ 37 h 292"/>
                <a:gd name="T6" fmla="*/ 293 w 294"/>
                <a:gd name="T7" fmla="*/ 25 h 292"/>
                <a:gd name="T8" fmla="*/ 288 w 294"/>
                <a:gd name="T9" fmla="*/ 13 h 292"/>
                <a:gd name="T10" fmla="*/ 284 w 294"/>
                <a:gd name="T11" fmla="*/ 9 h 292"/>
                <a:gd name="T12" fmla="*/ 273 w 294"/>
                <a:gd name="T13" fmla="*/ 1 h 292"/>
                <a:gd name="T14" fmla="*/ 263 w 294"/>
                <a:gd name="T15" fmla="*/ 0 h 292"/>
                <a:gd name="T16" fmla="*/ 251 w 294"/>
                <a:gd name="T17" fmla="*/ 1 h 292"/>
                <a:gd name="T18" fmla="*/ 241 w 294"/>
                <a:gd name="T19" fmla="*/ 9 h 292"/>
                <a:gd name="T20" fmla="*/ 53 w 294"/>
                <a:gd name="T21" fmla="*/ 9 h 292"/>
                <a:gd name="T22" fmla="*/ 49 w 294"/>
                <a:gd name="T23" fmla="*/ 4 h 292"/>
                <a:gd name="T24" fmla="*/ 37 w 294"/>
                <a:gd name="T25" fmla="*/ 0 h 292"/>
                <a:gd name="T26" fmla="*/ 25 w 294"/>
                <a:gd name="T27" fmla="*/ 0 h 292"/>
                <a:gd name="T28" fmla="*/ 15 w 294"/>
                <a:gd name="T29" fmla="*/ 4 h 292"/>
                <a:gd name="T30" fmla="*/ 9 w 294"/>
                <a:gd name="T31" fmla="*/ 9 h 292"/>
                <a:gd name="T32" fmla="*/ 3 w 294"/>
                <a:gd name="T33" fmla="*/ 19 h 292"/>
                <a:gd name="T34" fmla="*/ 0 w 294"/>
                <a:gd name="T35" fmla="*/ 31 h 292"/>
                <a:gd name="T36" fmla="*/ 3 w 294"/>
                <a:gd name="T37" fmla="*/ 43 h 292"/>
                <a:gd name="T38" fmla="*/ 9 w 294"/>
                <a:gd name="T39" fmla="*/ 53 h 292"/>
                <a:gd name="T40" fmla="*/ 9 w 294"/>
                <a:gd name="T41" fmla="*/ 239 h 292"/>
                <a:gd name="T42" fmla="*/ 6 w 294"/>
                <a:gd name="T43" fmla="*/ 245 h 292"/>
                <a:gd name="T44" fmla="*/ 2 w 294"/>
                <a:gd name="T45" fmla="*/ 256 h 292"/>
                <a:gd name="T46" fmla="*/ 2 w 294"/>
                <a:gd name="T47" fmla="*/ 267 h 292"/>
                <a:gd name="T48" fmla="*/ 6 w 294"/>
                <a:gd name="T49" fmla="*/ 279 h 292"/>
                <a:gd name="T50" fmla="*/ 9 w 294"/>
                <a:gd name="T51" fmla="*/ 284 h 292"/>
                <a:gd name="T52" fmla="*/ 19 w 294"/>
                <a:gd name="T53" fmla="*/ 291 h 292"/>
                <a:gd name="T54" fmla="*/ 31 w 294"/>
                <a:gd name="T55" fmla="*/ 292 h 292"/>
                <a:gd name="T56" fmla="*/ 37 w 294"/>
                <a:gd name="T57" fmla="*/ 292 h 292"/>
                <a:gd name="T58" fmla="*/ 49 w 294"/>
                <a:gd name="T59" fmla="*/ 288 h 292"/>
                <a:gd name="T60" fmla="*/ 146 w 294"/>
                <a:gd name="T61" fmla="*/ 191 h 292"/>
                <a:gd name="T62" fmla="*/ 241 w 294"/>
                <a:gd name="T63" fmla="*/ 284 h 292"/>
                <a:gd name="T64" fmla="*/ 251 w 294"/>
                <a:gd name="T65" fmla="*/ 291 h 292"/>
                <a:gd name="T66" fmla="*/ 263 w 294"/>
                <a:gd name="T67" fmla="*/ 292 h 292"/>
                <a:gd name="T68" fmla="*/ 269 w 294"/>
                <a:gd name="T69" fmla="*/ 292 h 292"/>
                <a:gd name="T70" fmla="*/ 279 w 294"/>
                <a:gd name="T71" fmla="*/ 288 h 292"/>
                <a:gd name="T72" fmla="*/ 284 w 294"/>
                <a:gd name="T73" fmla="*/ 284 h 292"/>
                <a:gd name="T74" fmla="*/ 291 w 294"/>
                <a:gd name="T75" fmla="*/ 273 h 292"/>
                <a:gd name="T76" fmla="*/ 294 w 294"/>
                <a:gd name="T77" fmla="*/ 261 h 292"/>
                <a:gd name="T78" fmla="*/ 291 w 294"/>
                <a:gd name="T79" fmla="*/ 250 h 292"/>
                <a:gd name="T80" fmla="*/ 284 w 294"/>
                <a:gd name="T81" fmla="*/ 23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94" h="292">
                  <a:moveTo>
                    <a:pt x="191" y="146"/>
                  </a:moveTo>
                  <a:lnTo>
                    <a:pt x="284" y="53"/>
                  </a:lnTo>
                  <a:lnTo>
                    <a:pt x="284" y="53"/>
                  </a:lnTo>
                  <a:lnTo>
                    <a:pt x="288" y="47"/>
                  </a:lnTo>
                  <a:lnTo>
                    <a:pt x="291" y="43"/>
                  </a:lnTo>
                  <a:lnTo>
                    <a:pt x="293" y="37"/>
                  </a:lnTo>
                  <a:lnTo>
                    <a:pt x="294" y="31"/>
                  </a:lnTo>
                  <a:lnTo>
                    <a:pt x="293" y="25"/>
                  </a:lnTo>
                  <a:lnTo>
                    <a:pt x="291" y="19"/>
                  </a:lnTo>
                  <a:lnTo>
                    <a:pt x="288" y="13"/>
                  </a:lnTo>
                  <a:lnTo>
                    <a:pt x="284" y="9"/>
                  </a:lnTo>
                  <a:lnTo>
                    <a:pt x="284" y="9"/>
                  </a:lnTo>
                  <a:lnTo>
                    <a:pt x="279" y="4"/>
                  </a:lnTo>
                  <a:lnTo>
                    <a:pt x="273" y="1"/>
                  </a:lnTo>
                  <a:lnTo>
                    <a:pt x="269" y="0"/>
                  </a:lnTo>
                  <a:lnTo>
                    <a:pt x="263" y="0"/>
                  </a:lnTo>
                  <a:lnTo>
                    <a:pt x="257" y="0"/>
                  </a:lnTo>
                  <a:lnTo>
                    <a:pt x="251" y="1"/>
                  </a:lnTo>
                  <a:lnTo>
                    <a:pt x="245" y="4"/>
                  </a:lnTo>
                  <a:lnTo>
                    <a:pt x="241" y="9"/>
                  </a:lnTo>
                  <a:lnTo>
                    <a:pt x="146" y="102"/>
                  </a:lnTo>
                  <a:lnTo>
                    <a:pt x="53" y="9"/>
                  </a:lnTo>
                  <a:lnTo>
                    <a:pt x="53" y="9"/>
                  </a:lnTo>
                  <a:lnTo>
                    <a:pt x="49" y="4"/>
                  </a:lnTo>
                  <a:lnTo>
                    <a:pt x="43" y="1"/>
                  </a:lnTo>
                  <a:lnTo>
                    <a:pt x="37" y="0"/>
                  </a:lnTo>
                  <a:lnTo>
                    <a:pt x="31" y="0"/>
                  </a:lnTo>
                  <a:lnTo>
                    <a:pt x="25" y="0"/>
                  </a:lnTo>
                  <a:lnTo>
                    <a:pt x="19" y="1"/>
                  </a:lnTo>
                  <a:lnTo>
                    <a:pt x="15" y="4"/>
                  </a:lnTo>
                  <a:lnTo>
                    <a:pt x="9" y="9"/>
                  </a:lnTo>
                  <a:lnTo>
                    <a:pt x="9" y="9"/>
                  </a:lnTo>
                  <a:lnTo>
                    <a:pt x="6" y="13"/>
                  </a:lnTo>
                  <a:lnTo>
                    <a:pt x="3" y="19"/>
                  </a:lnTo>
                  <a:lnTo>
                    <a:pt x="2" y="25"/>
                  </a:lnTo>
                  <a:lnTo>
                    <a:pt x="0" y="31"/>
                  </a:lnTo>
                  <a:lnTo>
                    <a:pt x="2" y="37"/>
                  </a:lnTo>
                  <a:lnTo>
                    <a:pt x="3" y="43"/>
                  </a:lnTo>
                  <a:lnTo>
                    <a:pt x="6" y="47"/>
                  </a:lnTo>
                  <a:lnTo>
                    <a:pt x="9" y="53"/>
                  </a:lnTo>
                  <a:lnTo>
                    <a:pt x="103" y="146"/>
                  </a:lnTo>
                  <a:lnTo>
                    <a:pt x="9" y="239"/>
                  </a:lnTo>
                  <a:lnTo>
                    <a:pt x="9" y="239"/>
                  </a:lnTo>
                  <a:lnTo>
                    <a:pt x="6" y="245"/>
                  </a:lnTo>
                  <a:lnTo>
                    <a:pt x="3" y="250"/>
                  </a:lnTo>
                  <a:lnTo>
                    <a:pt x="2" y="256"/>
                  </a:lnTo>
                  <a:lnTo>
                    <a:pt x="0" y="261"/>
                  </a:lnTo>
                  <a:lnTo>
                    <a:pt x="2" y="267"/>
                  </a:lnTo>
                  <a:lnTo>
                    <a:pt x="3" y="273"/>
                  </a:lnTo>
                  <a:lnTo>
                    <a:pt x="6" y="279"/>
                  </a:lnTo>
                  <a:lnTo>
                    <a:pt x="9" y="284"/>
                  </a:lnTo>
                  <a:lnTo>
                    <a:pt x="9" y="284"/>
                  </a:lnTo>
                  <a:lnTo>
                    <a:pt x="15" y="288"/>
                  </a:lnTo>
                  <a:lnTo>
                    <a:pt x="19" y="291"/>
                  </a:lnTo>
                  <a:lnTo>
                    <a:pt x="25" y="292"/>
                  </a:lnTo>
                  <a:lnTo>
                    <a:pt x="31" y="292"/>
                  </a:lnTo>
                  <a:lnTo>
                    <a:pt x="31" y="292"/>
                  </a:lnTo>
                  <a:lnTo>
                    <a:pt x="37" y="292"/>
                  </a:lnTo>
                  <a:lnTo>
                    <a:pt x="43" y="291"/>
                  </a:lnTo>
                  <a:lnTo>
                    <a:pt x="49" y="288"/>
                  </a:lnTo>
                  <a:lnTo>
                    <a:pt x="53" y="284"/>
                  </a:lnTo>
                  <a:lnTo>
                    <a:pt x="146" y="191"/>
                  </a:lnTo>
                  <a:lnTo>
                    <a:pt x="241" y="284"/>
                  </a:lnTo>
                  <a:lnTo>
                    <a:pt x="241" y="284"/>
                  </a:lnTo>
                  <a:lnTo>
                    <a:pt x="245" y="288"/>
                  </a:lnTo>
                  <a:lnTo>
                    <a:pt x="251" y="291"/>
                  </a:lnTo>
                  <a:lnTo>
                    <a:pt x="257" y="292"/>
                  </a:lnTo>
                  <a:lnTo>
                    <a:pt x="263" y="292"/>
                  </a:lnTo>
                  <a:lnTo>
                    <a:pt x="263" y="292"/>
                  </a:lnTo>
                  <a:lnTo>
                    <a:pt x="269" y="292"/>
                  </a:lnTo>
                  <a:lnTo>
                    <a:pt x="273" y="291"/>
                  </a:lnTo>
                  <a:lnTo>
                    <a:pt x="279" y="288"/>
                  </a:lnTo>
                  <a:lnTo>
                    <a:pt x="284" y="284"/>
                  </a:lnTo>
                  <a:lnTo>
                    <a:pt x="284" y="284"/>
                  </a:lnTo>
                  <a:lnTo>
                    <a:pt x="288" y="279"/>
                  </a:lnTo>
                  <a:lnTo>
                    <a:pt x="291" y="273"/>
                  </a:lnTo>
                  <a:lnTo>
                    <a:pt x="293" y="267"/>
                  </a:lnTo>
                  <a:lnTo>
                    <a:pt x="294" y="261"/>
                  </a:lnTo>
                  <a:lnTo>
                    <a:pt x="293" y="256"/>
                  </a:lnTo>
                  <a:lnTo>
                    <a:pt x="291" y="250"/>
                  </a:lnTo>
                  <a:lnTo>
                    <a:pt x="288" y="245"/>
                  </a:lnTo>
                  <a:lnTo>
                    <a:pt x="284" y="239"/>
                  </a:lnTo>
                  <a:lnTo>
                    <a:pt x="191"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chemeClr val="bg1"/>
                </a:solidFill>
              </a:endParaRPr>
            </a:p>
          </p:txBody>
        </p:sp>
        <p:sp>
          <p:nvSpPr>
            <p:cNvPr id="18" name="Freeform 397"/>
            <p:cNvSpPr>
              <a:spLocks noEditPoints="1"/>
            </p:cNvSpPr>
            <p:nvPr/>
          </p:nvSpPr>
          <p:spPr bwMode="auto">
            <a:xfrm>
              <a:off x="3809944" y="3284066"/>
              <a:ext cx="123064" cy="123064"/>
            </a:xfrm>
            <a:custGeom>
              <a:avLst/>
              <a:gdLst>
                <a:gd name="T0" fmla="*/ 161 w 361"/>
                <a:gd name="T1" fmla="*/ 361 h 362"/>
                <a:gd name="T2" fmla="*/ 110 w 361"/>
                <a:gd name="T3" fmla="*/ 347 h 362"/>
                <a:gd name="T4" fmla="*/ 65 w 361"/>
                <a:gd name="T5" fmla="*/ 321 h 362"/>
                <a:gd name="T6" fmla="*/ 31 w 361"/>
                <a:gd name="T7" fmla="*/ 282 h 362"/>
                <a:gd name="T8" fmla="*/ 8 w 361"/>
                <a:gd name="T9" fmla="*/ 235 h 362"/>
                <a:gd name="T10" fmla="*/ 0 w 361"/>
                <a:gd name="T11" fmla="*/ 181 h 362"/>
                <a:gd name="T12" fmla="*/ 3 w 361"/>
                <a:gd name="T13" fmla="*/ 145 h 362"/>
                <a:gd name="T14" fmla="*/ 21 w 361"/>
                <a:gd name="T15" fmla="*/ 95 h 362"/>
                <a:gd name="T16" fmla="*/ 52 w 361"/>
                <a:gd name="T17" fmla="*/ 53 h 362"/>
                <a:gd name="T18" fmla="*/ 95 w 361"/>
                <a:gd name="T19" fmla="*/ 22 h 362"/>
                <a:gd name="T20" fmla="*/ 144 w 361"/>
                <a:gd name="T21" fmla="*/ 3 h 362"/>
                <a:gd name="T22" fmla="*/ 181 w 361"/>
                <a:gd name="T23" fmla="*/ 0 h 362"/>
                <a:gd name="T24" fmla="*/ 234 w 361"/>
                <a:gd name="T25" fmla="*/ 8 h 362"/>
                <a:gd name="T26" fmla="*/ 281 w 361"/>
                <a:gd name="T27" fmla="*/ 31 h 362"/>
                <a:gd name="T28" fmla="*/ 319 w 361"/>
                <a:gd name="T29" fmla="*/ 67 h 362"/>
                <a:gd name="T30" fmla="*/ 347 w 361"/>
                <a:gd name="T31" fmla="*/ 111 h 362"/>
                <a:gd name="T32" fmla="*/ 361 w 361"/>
                <a:gd name="T33" fmla="*/ 163 h 362"/>
                <a:gd name="T34" fmla="*/ 361 w 361"/>
                <a:gd name="T35" fmla="*/ 200 h 362"/>
                <a:gd name="T36" fmla="*/ 347 w 361"/>
                <a:gd name="T37" fmla="*/ 251 h 362"/>
                <a:gd name="T38" fmla="*/ 319 w 361"/>
                <a:gd name="T39" fmla="*/ 296 h 362"/>
                <a:gd name="T40" fmla="*/ 281 w 361"/>
                <a:gd name="T41" fmla="*/ 331 h 362"/>
                <a:gd name="T42" fmla="*/ 234 w 361"/>
                <a:gd name="T43" fmla="*/ 353 h 362"/>
                <a:gd name="T44" fmla="*/ 181 w 361"/>
                <a:gd name="T45" fmla="*/ 362 h 362"/>
                <a:gd name="T46" fmla="*/ 181 w 361"/>
                <a:gd name="T47" fmla="*/ 62 h 362"/>
                <a:gd name="T48" fmla="*/ 145 w 361"/>
                <a:gd name="T49" fmla="*/ 68 h 362"/>
                <a:gd name="T50" fmla="*/ 114 w 361"/>
                <a:gd name="T51" fmla="*/ 83 h 362"/>
                <a:gd name="T52" fmla="*/ 89 w 361"/>
                <a:gd name="T53" fmla="*/ 105 h 362"/>
                <a:gd name="T54" fmla="*/ 71 w 361"/>
                <a:gd name="T55" fmla="*/ 135 h 362"/>
                <a:gd name="T56" fmla="*/ 62 w 361"/>
                <a:gd name="T57" fmla="*/ 169 h 362"/>
                <a:gd name="T58" fmla="*/ 62 w 361"/>
                <a:gd name="T59" fmla="*/ 194 h 362"/>
                <a:gd name="T60" fmla="*/ 71 w 361"/>
                <a:gd name="T61" fmla="*/ 228 h 362"/>
                <a:gd name="T62" fmla="*/ 89 w 361"/>
                <a:gd name="T63" fmla="*/ 256 h 362"/>
                <a:gd name="T64" fmla="*/ 114 w 361"/>
                <a:gd name="T65" fmla="*/ 279 h 362"/>
                <a:gd name="T66" fmla="*/ 145 w 361"/>
                <a:gd name="T67" fmla="*/ 294 h 362"/>
                <a:gd name="T68" fmla="*/ 181 w 361"/>
                <a:gd name="T69" fmla="*/ 300 h 362"/>
                <a:gd name="T70" fmla="*/ 204 w 361"/>
                <a:gd name="T71" fmla="*/ 297 h 362"/>
                <a:gd name="T72" fmla="*/ 237 w 361"/>
                <a:gd name="T73" fmla="*/ 285 h 362"/>
                <a:gd name="T74" fmla="*/ 265 w 361"/>
                <a:gd name="T75" fmla="*/ 265 h 362"/>
                <a:gd name="T76" fmla="*/ 285 w 361"/>
                <a:gd name="T77" fmla="*/ 238 h 362"/>
                <a:gd name="T78" fmla="*/ 297 w 361"/>
                <a:gd name="T79" fmla="*/ 206 h 362"/>
                <a:gd name="T80" fmla="*/ 299 w 361"/>
                <a:gd name="T81" fmla="*/ 181 h 362"/>
                <a:gd name="T82" fmla="*/ 294 w 361"/>
                <a:gd name="T83" fmla="*/ 145 h 362"/>
                <a:gd name="T84" fmla="*/ 279 w 361"/>
                <a:gd name="T85" fmla="*/ 114 h 362"/>
                <a:gd name="T86" fmla="*/ 256 w 361"/>
                <a:gd name="T87" fmla="*/ 89 h 362"/>
                <a:gd name="T88" fmla="*/ 226 w 361"/>
                <a:gd name="T89" fmla="*/ 71 h 362"/>
                <a:gd name="T90" fmla="*/ 192 w 361"/>
                <a:gd name="T91" fmla="*/ 6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1" h="362">
                  <a:moveTo>
                    <a:pt x="181" y="362"/>
                  </a:moveTo>
                  <a:lnTo>
                    <a:pt x="181" y="362"/>
                  </a:lnTo>
                  <a:lnTo>
                    <a:pt x="161" y="361"/>
                  </a:lnTo>
                  <a:lnTo>
                    <a:pt x="144" y="358"/>
                  </a:lnTo>
                  <a:lnTo>
                    <a:pt x="127" y="353"/>
                  </a:lnTo>
                  <a:lnTo>
                    <a:pt x="110" y="347"/>
                  </a:lnTo>
                  <a:lnTo>
                    <a:pt x="95" y="340"/>
                  </a:lnTo>
                  <a:lnTo>
                    <a:pt x="80" y="331"/>
                  </a:lnTo>
                  <a:lnTo>
                    <a:pt x="65" y="321"/>
                  </a:lnTo>
                  <a:lnTo>
                    <a:pt x="52" y="309"/>
                  </a:lnTo>
                  <a:lnTo>
                    <a:pt x="42" y="296"/>
                  </a:lnTo>
                  <a:lnTo>
                    <a:pt x="31" y="282"/>
                  </a:lnTo>
                  <a:lnTo>
                    <a:pt x="21" y="268"/>
                  </a:lnTo>
                  <a:lnTo>
                    <a:pt x="14" y="251"/>
                  </a:lnTo>
                  <a:lnTo>
                    <a:pt x="8" y="235"/>
                  </a:lnTo>
                  <a:lnTo>
                    <a:pt x="3" y="217"/>
                  </a:lnTo>
                  <a:lnTo>
                    <a:pt x="0" y="200"/>
                  </a:lnTo>
                  <a:lnTo>
                    <a:pt x="0" y="181"/>
                  </a:lnTo>
                  <a:lnTo>
                    <a:pt x="0" y="181"/>
                  </a:lnTo>
                  <a:lnTo>
                    <a:pt x="0" y="163"/>
                  </a:lnTo>
                  <a:lnTo>
                    <a:pt x="3" y="145"/>
                  </a:lnTo>
                  <a:lnTo>
                    <a:pt x="8" y="127"/>
                  </a:lnTo>
                  <a:lnTo>
                    <a:pt x="14" y="111"/>
                  </a:lnTo>
                  <a:lnTo>
                    <a:pt x="21" y="95"/>
                  </a:lnTo>
                  <a:lnTo>
                    <a:pt x="31" y="80"/>
                  </a:lnTo>
                  <a:lnTo>
                    <a:pt x="42" y="67"/>
                  </a:lnTo>
                  <a:lnTo>
                    <a:pt x="52" y="53"/>
                  </a:lnTo>
                  <a:lnTo>
                    <a:pt x="65" y="42"/>
                  </a:lnTo>
                  <a:lnTo>
                    <a:pt x="80" y="31"/>
                  </a:lnTo>
                  <a:lnTo>
                    <a:pt x="95" y="22"/>
                  </a:lnTo>
                  <a:lnTo>
                    <a:pt x="110" y="15"/>
                  </a:lnTo>
                  <a:lnTo>
                    <a:pt x="127" y="8"/>
                  </a:lnTo>
                  <a:lnTo>
                    <a:pt x="144" y="3"/>
                  </a:lnTo>
                  <a:lnTo>
                    <a:pt x="161" y="2"/>
                  </a:lnTo>
                  <a:lnTo>
                    <a:pt x="181" y="0"/>
                  </a:lnTo>
                  <a:lnTo>
                    <a:pt x="181" y="0"/>
                  </a:lnTo>
                  <a:lnTo>
                    <a:pt x="198" y="2"/>
                  </a:lnTo>
                  <a:lnTo>
                    <a:pt x="217" y="3"/>
                  </a:lnTo>
                  <a:lnTo>
                    <a:pt x="234" y="8"/>
                  </a:lnTo>
                  <a:lnTo>
                    <a:pt x="251" y="15"/>
                  </a:lnTo>
                  <a:lnTo>
                    <a:pt x="266" y="22"/>
                  </a:lnTo>
                  <a:lnTo>
                    <a:pt x="281" y="31"/>
                  </a:lnTo>
                  <a:lnTo>
                    <a:pt x="296" y="42"/>
                  </a:lnTo>
                  <a:lnTo>
                    <a:pt x="308" y="53"/>
                  </a:lnTo>
                  <a:lnTo>
                    <a:pt x="319" y="67"/>
                  </a:lnTo>
                  <a:lnTo>
                    <a:pt x="330" y="80"/>
                  </a:lnTo>
                  <a:lnTo>
                    <a:pt x="340" y="95"/>
                  </a:lnTo>
                  <a:lnTo>
                    <a:pt x="347" y="111"/>
                  </a:lnTo>
                  <a:lnTo>
                    <a:pt x="353" y="127"/>
                  </a:lnTo>
                  <a:lnTo>
                    <a:pt x="358" y="145"/>
                  </a:lnTo>
                  <a:lnTo>
                    <a:pt x="361" y="163"/>
                  </a:lnTo>
                  <a:lnTo>
                    <a:pt x="361" y="181"/>
                  </a:lnTo>
                  <a:lnTo>
                    <a:pt x="361" y="181"/>
                  </a:lnTo>
                  <a:lnTo>
                    <a:pt x="361" y="200"/>
                  </a:lnTo>
                  <a:lnTo>
                    <a:pt x="358" y="217"/>
                  </a:lnTo>
                  <a:lnTo>
                    <a:pt x="353" y="235"/>
                  </a:lnTo>
                  <a:lnTo>
                    <a:pt x="347" y="251"/>
                  </a:lnTo>
                  <a:lnTo>
                    <a:pt x="340" y="268"/>
                  </a:lnTo>
                  <a:lnTo>
                    <a:pt x="330" y="282"/>
                  </a:lnTo>
                  <a:lnTo>
                    <a:pt x="319" y="296"/>
                  </a:lnTo>
                  <a:lnTo>
                    <a:pt x="308" y="309"/>
                  </a:lnTo>
                  <a:lnTo>
                    <a:pt x="296" y="321"/>
                  </a:lnTo>
                  <a:lnTo>
                    <a:pt x="281" y="331"/>
                  </a:lnTo>
                  <a:lnTo>
                    <a:pt x="266" y="340"/>
                  </a:lnTo>
                  <a:lnTo>
                    <a:pt x="251" y="347"/>
                  </a:lnTo>
                  <a:lnTo>
                    <a:pt x="234" y="353"/>
                  </a:lnTo>
                  <a:lnTo>
                    <a:pt x="217" y="358"/>
                  </a:lnTo>
                  <a:lnTo>
                    <a:pt x="198" y="361"/>
                  </a:lnTo>
                  <a:lnTo>
                    <a:pt x="181" y="362"/>
                  </a:lnTo>
                  <a:lnTo>
                    <a:pt x="181" y="362"/>
                  </a:lnTo>
                  <a:close/>
                  <a:moveTo>
                    <a:pt x="181" y="62"/>
                  </a:moveTo>
                  <a:lnTo>
                    <a:pt x="181" y="62"/>
                  </a:lnTo>
                  <a:lnTo>
                    <a:pt x="169" y="62"/>
                  </a:lnTo>
                  <a:lnTo>
                    <a:pt x="157" y="65"/>
                  </a:lnTo>
                  <a:lnTo>
                    <a:pt x="145" y="68"/>
                  </a:lnTo>
                  <a:lnTo>
                    <a:pt x="135" y="71"/>
                  </a:lnTo>
                  <a:lnTo>
                    <a:pt x="124" y="77"/>
                  </a:lnTo>
                  <a:lnTo>
                    <a:pt x="114" y="83"/>
                  </a:lnTo>
                  <a:lnTo>
                    <a:pt x="105" y="89"/>
                  </a:lnTo>
                  <a:lnTo>
                    <a:pt x="96" y="98"/>
                  </a:lnTo>
                  <a:lnTo>
                    <a:pt x="89" y="105"/>
                  </a:lnTo>
                  <a:lnTo>
                    <a:pt x="82" y="114"/>
                  </a:lnTo>
                  <a:lnTo>
                    <a:pt x="76" y="124"/>
                  </a:lnTo>
                  <a:lnTo>
                    <a:pt x="71" y="135"/>
                  </a:lnTo>
                  <a:lnTo>
                    <a:pt x="67" y="145"/>
                  </a:lnTo>
                  <a:lnTo>
                    <a:pt x="64" y="157"/>
                  </a:lnTo>
                  <a:lnTo>
                    <a:pt x="62" y="169"/>
                  </a:lnTo>
                  <a:lnTo>
                    <a:pt x="62" y="181"/>
                  </a:lnTo>
                  <a:lnTo>
                    <a:pt x="62" y="181"/>
                  </a:lnTo>
                  <a:lnTo>
                    <a:pt x="62" y="194"/>
                  </a:lnTo>
                  <a:lnTo>
                    <a:pt x="64" y="206"/>
                  </a:lnTo>
                  <a:lnTo>
                    <a:pt x="67" y="216"/>
                  </a:lnTo>
                  <a:lnTo>
                    <a:pt x="71" y="228"/>
                  </a:lnTo>
                  <a:lnTo>
                    <a:pt x="76" y="238"/>
                  </a:lnTo>
                  <a:lnTo>
                    <a:pt x="82" y="247"/>
                  </a:lnTo>
                  <a:lnTo>
                    <a:pt x="89" y="256"/>
                  </a:lnTo>
                  <a:lnTo>
                    <a:pt x="96" y="265"/>
                  </a:lnTo>
                  <a:lnTo>
                    <a:pt x="105" y="272"/>
                  </a:lnTo>
                  <a:lnTo>
                    <a:pt x="114" y="279"/>
                  </a:lnTo>
                  <a:lnTo>
                    <a:pt x="124" y="285"/>
                  </a:lnTo>
                  <a:lnTo>
                    <a:pt x="135" y="290"/>
                  </a:lnTo>
                  <a:lnTo>
                    <a:pt x="145" y="294"/>
                  </a:lnTo>
                  <a:lnTo>
                    <a:pt x="157" y="297"/>
                  </a:lnTo>
                  <a:lnTo>
                    <a:pt x="169" y="299"/>
                  </a:lnTo>
                  <a:lnTo>
                    <a:pt x="181" y="300"/>
                  </a:lnTo>
                  <a:lnTo>
                    <a:pt x="181" y="300"/>
                  </a:lnTo>
                  <a:lnTo>
                    <a:pt x="192" y="299"/>
                  </a:lnTo>
                  <a:lnTo>
                    <a:pt x="204" y="297"/>
                  </a:lnTo>
                  <a:lnTo>
                    <a:pt x="216" y="294"/>
                  </a:lnTo>
                  <a:lnTo>
                    <a:pt x="226" y="290"/>
                  </a:lnTo>
                  <a:lnTo>
                    <a:pt x="237" y="285"/>
                  </a:lnTo>
                  <a:lnTo>
                    <a:pt x="247" y="279"/>
                  </a:lnTo>
                  <a:lnTo>
                    <a:pt x="256" y="272"/>
                  </a:lnTo>
                  <a:lnTo>
                    <a:pt x="265" y="265"/>
                  </a:lnTo>
                  <a:lnTo>
                    <a:pt x="272" y="256"/>
                  </a:lnTo>
                  <a:lnTo>
                    <a:pt x="279" y="247"/>
                  </a:lnTo>
                  <a:lnTo>
                    <a:pt x="285" y="238"/>
                  </a:lnTo>
                  <a:lnTo>
                    <a:pt x="290" y="228"/>
                  </a:lnTo>
                  <a:lnTo>
                    <a:pt x="294" y="216"/>
                  </a:lnTo>
                  <a:lnTo>
                    <a:pt x="297" y="206"/>
                  </a:lnTo>
                  <a:lnTo>
                    <a:pt x="299" y="194"/>
                  </a:lnTo>
                  <a:lnTo>
                    <a:pt x="299" y="181"/>
                  </a:lnTo>
                  <a:lnTo>
                    <a:pt x="299" y="181"/>
                  </a:lnTo>
                  <a:lnTo>
                    <a:pt x="299" y="169"/>
                  </a:lnTo>
                  <a:lnTo>
                    <a:pt x="297" y="157"/>
                  </a:lnTo>
                  <a:lnTo>
                    <a:pt x="294" y="145"/>
                  </a:lnTo>
                  <a:lnTo>
                    <a:pt x="290" y="135"/>
                  </a:lnTo>
                  <a:lnTo>
                    <a:pt x="285" y="124"/>
                  </a:lnTo>
                  <a:lnTo>
                    <a:pt x="279" y="114"/>
                  </a:lnTo>
                  <a:lnTo>
                    <a:pt x="272" y="105"/>
                  </a:lnTo>
                  <a:lnTo>
                    <a:pt x="265" y="98"/>
                  </a:lnTo>
                  <a:lnTo>
                    <a:pt x="256" y="89"/>
                  </a:lnTo>
                  <a:lnTo>
                    <a:pt x="247" y="83"/>
                  </a:lnTo>
                  <a:lnTo>
                    <a:pt x="237" y="77"/>
                  </a:lnTo>
                  <a:lnTo>
                    <a:pt x="226" y="71"/>
                  </a:lnTo>
                  <a:lnTo>
                    <a:pt x="216" y="68"/>
                  </a:lnTo>
                  <a:lnTo>
                    <a:pt x="204" y="65"/>
                  </a:lnTo>
                  <a:lnTo>
                    <a:pt x="192" y="62"/>
                  </a:lnTo>
                  <a:lnTo>
                    <a:pt x="181" y="62"/>
                  </a:lnTo>
                  <a:lnTo>
                    <a:pt x="181"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chemeClr val="bg1"/>
                </a:solidFill>
              </a:endParaRPr>
            </a:p>
          </p:txBody>
        </p:sp>
        <p:sp>
          <p:nvSpPr>
            <p:cNvPr id="19" name="Freeform 398"/>
            <p:cNvSpPr>
              <a:spLocks/>
            </p:cNvSpPr>
            <p:nvPr/>
          </p:nvSpPr>
          <p:spPr bwMode="auto">
            <a:xfrm>
              <a:off x="3627400" y="3204075"/>
              <a:ext cx="140498" cy="342527"/>
            </a:xfrm>
            <a:custGeom>
              <a:avLst/>
              <a:gdLst>
                <a:gd name="T0" fmla="*/ 31 w 412"/>
                <a:gd name="T1" fmla="*/ 1001 h 1001"/>
                <a:gd name="T2" fmla="*/ 16 w 412"/>
                <a:gd name="T3" fmla="*/ 999 h 1001"/>
                <a:gd name="T4" fmla="*/ 6 w 412"/>
                <a:gd name="T5" fmla="*/ 988 h 1001"/>
                <a:gd name="T6" fmla="*/ 3 w 412"/>
                <a:gd name="T7" fmla="*/ 982 h 1001"/>
                <a:gd name="T8" fmla="*/ 0 w 412"/>
                <a:gd name="T9" fmla="*/ 970 h 1001"/>
                <a:gd name="T10" fmla="*/ 3 w 412"/>
                <a:gd name="T11" fmla="*/ 959 h 1001"/>
                <a:gd name="T12" fmla="*/ 11 w 412"/>
                <a:gd name="T13" fmla="*/ 948 h 1001"/>
                <a:gd name="T14" fmla="*/ 15 w 412"/>
                <a:gd name="T15" fmla="*/ 945 h 1001"/>
                <a:gd name="T16" fmla="*/ 102 w 412"/>
                <a:gd name="T17" fmla="*/ 880 h 1001"/>
                <a:gd name="T18" fmla="*/ 174 w 412"/>
                <a:gd name="T19" fmla="*/ 811 h 1001"/>
                <a:gd name="T20" fmla="*/ 232 w 412"/>
                <a:gd name="T21" fmla="*/ 740 h 1001"/>
                <a:gd name="T22" fmla="*/ 276 w 412"/>
                <a:gd name="T23" fmla="*/ 666 h 1001"/>
                <a:gd name="T24" fmla="*/ 309 w 412"/>
                <a:gd name="T25" fmla="*/ 591 h 1001"/>
                <a:gd name="T26" fmla="*/ 331 w 412"/>
                <a:gd name="T27" fmla="*/ 517 h 1001"/>
                <a:gd name="T28" fmla="*/ 344 w 412"/>
                <a:gd name="T29" fmla="*/ 443 h 1001"/>
                <a:gd name="T30" fmla="*/ 350 w 412"/>
                <a:gd name="T31" fmla="*/ 372 h 1001"/>
                <a:gd name="T32" fmla="*/ 350 w 412"/>
                <a:gd name="T33" fmla="*/ 306 h 1001"/>
                <a:gd name="T34" fmla="*/ 346 w 412"/>
                <a:gd name="T35" fmla="*/ 244 h 1001"/>
                <a:gd name="T36" fmla="*/ 337 w 412"/>
                <a:gd name="T37" fmla="*/ 189 h 1001"/>
                <a:gd name="T38" fmla="*/ 318 w 412"/>
                <a:gd name="T39" fmla="*/ 100 h 1001"/>
                <a:gd name="T40" fmla="*/ 299 w 412"/>
                <a:gd name="T41" fmla="*/ 43 h 1001"/>
                <a:gd name="T42" fmla="*/ 297 w 412"/>
                <a:gd name="T43" fmla="*/ 37 h 1001"/>
                <a:gd name="T44" fmla="*/ 297 w 412"/>
                <a:gd name="T45" fmla="*/ 25 h 1001"/>
                <a:gd name="T46" fmla="*/ 301 w 412"/>
                <a:gd name="T47" fmla="*/ 15 h 1001"/>
                <a:gd name="T48" fmla="*/ 310 w 412"/>
                <a:gd name="T49" fmla="*/ 6 h 1001"/>
                <a:gd name="T50" fmla="*/ 316 w 412"/>
                <a:gd name="T51" fmla="*/ 3 h 1001"/>
                <a:gd name="T52" fmla="*/ 328 w 412"/>
                <a:gd name="T53" fmla="*/ 0 h 1001"/>
                <a:gd name="T54" fmla="*/ 340 w 412"/>
                <a:gd name="T55" fmla="*/ 3 h 1001"/>
                <a:gd name="T56" fmla="*/ 349 w 412"/>
                <a:gd name="T57" fmla="*/ 9 h 1001"/>
                <a:gd name="T58" fmla="*/ 356 w 412"/>
                <a:gd name="T59" fmla="*/ 19 h 1001"/>
                <a:gd name="T60" fmla="*/ 366 w 412"/>
                <a:gd name="T61" fmla="*/ 49 h 1001"/>
                <a:gd name="T62" fmla="*/ 387 w 412"/>
                <a:gd name="T63" fmla="*/ 124 h 1001"/>
                <a:gd name="T64" fmla="*/ 402 w 412"/>
                <a:gd name="T65" fmla="*/ 207 h 1001"/>
                <a:gd name="T66" fmla="*/ 409 w 412"/>
                <a:gd name="T67" fmla="*/ 270 h 1001"/>
                <a:gd name="T68" fmla="*/ 412 w 412"/>
                <a:gd name="T69" fmla="*/ 340 h 1001"/>
                <a:gd name="T70" fmla="*/ 409 w 412"/>
                <a:gd name="T71" fmla="*/ 415 h 1001"/>
                <a:gd name="T72" fmla="*/ 399 w 412"/>
                <a:gd name="T73" fmla="*/ 492 h 1001"/>
                <a:gd name="T74" fmla="*/ 380 w 412"/>
                <a:gd name="T75" fmla="*/ 573 h 1001"/>
                <a:gd name="T76" fmla="*/ 350 w 412"/>
                <a:gd name="T77" fmla="*/ 654 h 1001"/>
                <a:gd name="T78" fmla="*/ 309 w 412"/>
                <a:gd name="T79" fmla="*/ 734 h 1001"/>
                <a:gd name="T80" fmla="*/ 254 w 412"/>
                <a:gd name="T81" fmla="*/ 814 h 1001"/>
                <a:gd name="T82" fmla="*/ 204 w 412"/>
                <a:gd name="T83" fmla="*/ 871 h 1001"/>
                <a:gd name="T84" fmla="*/ 164 w 412"/>
                <a:gd name="T85" fmla="*/ 908 h 1001"/>
                <a:gd name="T86" fmla="*/ 121 w 412"/>
                <a:gd name="T87" fmla="*/ 945 h 1001"/>
                <a:gd name="T88" fmla="*/ 74 w 412"/>
                <a:gd name="T89" fmla="*/ 979 h 1001"/>
                <a:gd name="T90" fmla="*/ 49 w 412"/>
                <a:gd name="T91" fmla="*/ 997 h 1001"/>
                <a:gd name="T92" fmla="*/ 31 w 412"/>
                <a:gd name="T93" fmla="*/ 1001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12" h="1001">
                  <a:moveTo>
                    <a:pt x="31" y="1001"/>
                  </a:moveTo>
                  <a:lnTo>
                    <a:pt x="31" y="1001"/>
                  </a:lnTo>
                  <a:lnTo>
                    <a:pt x="24" y="1001"/>
                  </a:lnTo>
                  <a:lnTo>
                    <a:pt x="16" y="999"/>
                  </a:lnTo>
                  <a:lnTo>
                    <a:pt x="11" y="994"/>
                  </a:lnTo>
                  <a:lnTo>
                    <a:pt x="6" y="988"/>
                  </a:lnTo>
                  <a:lnTo>
                    <a:pt x="6" y="988"/>
                  </a:lnTo>
                  <a:lnTo>
                    <a:pt x="3" y="982"/>
                  </a:lnTo>
                  <a:lnTo>
                    <a:pt x="2" y="976"/>
                  </a:lnTo>
                  <a:lnTo>
                    <a:pt x="0" y="970"/>
                  </a:lnTo>
                  <a:lnTo>
                    <a:pt x="2" y="965"/>
                  </a:lnTo>
                  <a:lnTo>
                    <a:pt x="3" y="959"/>
                  </a:lnTo>
                  <a:lnTo>
                    <a:pt x="6" y="953"/>
                  </a:lnTo>
                  <a:lnTo>
                    <a:pt x="11" y="948"/>
                  </a:lnTo>
                  <a:lnTo>
                    <a:pt x="15" y="945"/>
                  </a:lnTo>
                  <a:lnTo>
                    <a:pt x="15" y="945"/>
                  </a:lnTo>
                  <a:lnTo>
                    <a:pt x="61" y="913"/>
                  </a:lnTo>
                  <a:lnTo>
                    <a:pt x="102" y="880"/>
                  </a:lnTo>
                  <a:lnTo>
                    <a:pt x="140" y="846"/>
                  </a:lnTo>
                  <a:lnTo>
                    <a:pt x="174" y="811"/>
                  </a:lnTo>
                  <a:lnTo>
                    <a:pt x="205" y="775"/>
                  </a:lnTo>
                  <a:lnTo>
                    <a:pt x="232" y="740"/>
                  </a:lnTo>
                  <a:lnTo>
                    <a:pt x="256" y="703"/>
                  </a:lnTo>
                  <a:lnTo>
                    <a:pt x="276" y="666"/>
                  </a:lnTo>
                  <a:lnTo>
                    <a:pt x="294" y="628"/>
                  </a:lnTo>
                  <a:lnTo>
                    <a:pt x="309" y="591"/>
                  </a:lnTo>
                  <a:lnTo>
                    <a:pt x="321" y="554"/>
                  </a:lnTo>
                  <a:lnTo>
                    <a:pt x="331" y="517"/>
                  </a:lnTo>
                  <a:lnTo>
                    <a:pt x="338" y="480"/>
                  </a:lnTo>
                  <a:lnTo>
                    <a:pt x="344" y="443"/>
                  </a:lnTo>
                  <a:lnTo>
                    <a:pt x="349" y="408"/>
                  </a:lnTo>
                  <a:lnTo>
                    <a:pt x="350" y="372"/>
                  </a:lnTo>
                  <a:lnTo>
                    <a:pt x="350" y="338"/>
                  </a:lnTo>
                  <a:lnTo>
                    <a:pt x="350" y="306"/>
                  </a:lnTo>
                  <a:lnTo>
                    <a:pt x="349" y="275"/>
                  </a:lnTo>
                  <a:lnTo>
                    <a:pt x="346" y="244"/>
                  </a:lnTo>
                  <a:lnTo>
                    <a:pt x="341" y="216"/>
                  </a:lnTo>
                  <a:lnTo>
                    <a:pt x="337" y="189"/>
                  </a:lnTo>
                  <a:lnTo>
                    <a:pt x="328" y="140"/>
                  </a:lnTo>
                  <a:lnTo>
                    <a:pt x="318" y="100"/>
                  </a:lnTo>
                  <a:lnTo>
                    <a:pt x="309" y="71"/>
                  </a:lnTo>
                  <a:lnTo>
                    <a:pt x="299" y="43"/>
                  </a:lnTo>
                  <a:lnTo>
                    <a:pt x="299" y="43"/>
                  </a:lnTo>
                  <a:lnTo>
                    <a:pt x="297" y="37"/>
                  </a:lnTo>
                  <a:lnTo>
                    <a:pt x="297" y="31"/>
                  </a:lnTo>
                  <a:lnTo>
                    <a:pt x="297" y="25"/>
                  </a:lnTo>
                  <a:lnTo>
                    <a:pt x="299" y="19"/>
                  </a:lnTo>
                  <a:lnTo>
                    <a:pt x="301" y="15"/>
                  </a:lnTo>
                  <a:lnTo>
                    <a:pt x="306" y="10"/>
                  </a:lnTo>
                  <a:lnTo>
                    <a:pt x="310" y="6"/>
                  </a:lnTo>
                  <a:lnTo>
                    <a:pt x="316" y="3"/>
                  </a:lnTo>
                  <a:lnTo>
                    <a:pt x="316" y="3"/>
                  </a:lnTo>
                  <a:lnTo>
                    <a:pt x="322" y="1"/>
                  </a:lnTo>
                  <a:lnTo>
                    <a:pt x="328" y="0"/>
                  </a:lnTo>
                  <a:lnTo>
                    <a:pt x="334" y="1"/>
                  </a:lnTo>
                  <a:lnTo>
                    <a:pt x="340" y="3"/>
                  </a:lnTo>
                  <a:lnTo>
                    <a:pt x="344" y="6"/>
                  </a:lnTo>
                  <a:lnTo>
                    <a:pt x="349" y="9"/>
                  </a:lnTo>
                  <a:lnTo>
                    <a:pt x="353" y="15"/>
                  </a:lnTo>
                  <a:lnTo>
                    <a:pt x="356" y="19"/>
                  </a:lnTo>
                  <a:lnTo>
                    <a:pt x="356" y="19"/>
                  </a:lnTo>
                  <a:lnTo>
                    <a:pt x="366" y="49"/>
                  </a:lnTo>
                  <a:lnTo>
                    <a:pt x="377" y="81"/>
                  </a:lnTo>
                  <a:lnTo>
                    <a:pt x="387" y="124"/>
                  </a:lnTo>
                  <a:lnTo>
                    <a:pt x="397" y="177"/>
                  </a:lnTo>
                  <a:lnTo>
                    <a:pt x="402" y="207"/>
                  </a:lnTo>
                  <a:lnTo>
                    <a:pt x="406" y="238"/>
                  </a:lnTo>
                  <a:lnTo>
                    <a:pt x="409" y="270"/>
                  </a:lnTo>
                  <a:lnTo>
                    <a:pt x="412" y="304"/>
                  </a:lnTo>
                  <a:lnTo>
                    <a:pt x="412" y="340"/>
                  </a:lnTo>
                  <a:lnTo>
                    <a:pt x="412" y="377"/>
                  </a:lnTo>
                  <a:lnTo>
                    <a:pt x="409" y="415"/>
                  </a:lnTo>
                  <a:lnTo>
                    <a:pt x="405" y="453"/>
                  </a:lnTo>
                  <a:lnTo>
                    <a:pt x="399" y="492"/>
                  </a:lnTo>
                  <a:lnTo>
                    <a:pt x="392" y="532"/>
                  </a:lnTo>
                  <a:lnTo>
                    <a:pt x="380" y="573"/>
                  </a:lnTo>
                  <a:lnTo>
                    <a:pt x="366" y="613"/>
                  </a:lnTo>
                  <a:lnTo>
                    <a:pt x="350" y="654"/>
                  </a:lnTo>
                  <a:lnTo>
                    <a:pt x="331" y="694"/>
                  </a:lnTo>
                  <a:lnTo>
                    <a:pt x="309" y="734"/>
                  </a:lnTo>
                  <a:lnTo>
                    <a:pt x="284" y="774"/>
                  </a:lnTo>
                  <a:lnTo>
                    <a:pt x="254" y="814"/>
                  </a:lnTo>
                  <a:lnTo>
                    <a:pt x="222" y="852"/>
                  </a:lnTo>
                  <a:lnTo>
                    <a:pt x="204" y="871"/>
                  </a:lnTo>
                  <a:lnTo>
                    <a:pt x="185" y="891"/>
                  </a:lnTo>
                  <a:lnTo>
                    <a:pt x="164" y="908"/>
                  </a:lnTo>
                  <a:lnTo>
                    <a:pt x="143" y="928"/>
                  </a:lnTo>
                  <a:lnTo>
                    <a:pt x="121" y="945"/>
                  </a:lnTo>
                  <a:lnTo>
                    <a:pt x="98" y="963"/>
                  </a:lnTo>
                  <a:lnTo>
                    <a:pt x="74" y="979"/>
                  </a:lnTo>
                  <a:lnTo>
                    <a:pt x="49" y="997"/>
                  </a:lnTo>
                  <a:lnTo>
                    <a:pt x="49" y="997"/>
                  </a:lnTo>
                  <a:lnTo>
                    <a:pt x="40" y="1000"/>
                  </a:lnTo>
                  <a:lnTo>
                    <a:pt x="31" y="1001"/>
                  </a:lnTo>
                  <a:lnTo>
                    <a:pt x="31" y="10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chemeClr val="bg1"/>
                </a:solidFill>
              </a:endParaRPr>
            </a:p>
          </p:txBody>
        </p:sp>
        <p:sp>
          <p:nvSpPr>
            <p:cNvPr id="20" name="Freeform 399"/>
            <p:cNvSpPr>
              <a:spLocks/>
            </p:cNvSpPr>
            <p:nvPr/>
          </p:nvSpPr>
          <p:spPr bwMode="auto">
            <a:xfrm>
              <a:off x="3699187" y="3203049"/>
              <a:ext cx="49225" cy="76915"/>
            </a:xfrm>
            <a:custGeom>
              <a:avLst/>
              <a:gdLst>
                <a:gd name="T0" fmla="*/ 31 w 144"/>
                <a:gd name="T1" fmla="*/ 224 h 224"/>
                <a:gd name="T2" fmla="*/ 31 w 144"/>
                <a:gd name="T3" fmla="*/ 224 h 224"/>
                <a:gd name="T4" fmla="*/ 24 w 144"/>
                <a:gd name="T5" fmla="*/ 224 h 224"/>
                <a:gd name="T6" fmla="*/ 17 w 144"/>
                <a:gd name="T7" fmla="*/ 222 h 224"/>
                <a:gd name="T8" fmla="*/ 17 w 144"/>
                <a:gd name="T9" fmla="*/ 222 h 224"/>
                <a:gd name="T10" fmla="*/ 12 w 144"/>
                <a:gd name="T11" fmla="*/ 219 h 224"/>
                <a:gd name="T12" fmla="*/ 8 w 144"/>
                <a:gd name="T13" fmla="*/ 214 h 224"/>
                <a:gd name="T14" fmla="*/ 3 w 144"/>
                <a:gd name="T15" fmla="*/ 210 h 224"/>
                <a:gd name="T16" fmla="*/ 2 w 144"/>
                <a:gd name="T17" fmla="*/ 204 h 224"/>
                <a:gd name="T18" fmla="*/ 0 w 144"/>
                <a:gd name="T19" fmla="*/ 198 h 224"/>
                <a:gd name="T20" fmla="*/ 0 w 144"/>
                <a:gd name="T21" fmla="*/ 192 h 224"/>
                <a:gd name="T22" fmla="*/ 0 w 144"/>
                <a:gd name="T23" fmla="*/ 186 h 224"/>
                <a:gd name="T24" fmla="*/ 3 w 144"/>
                <a:gd name="T25" fmla="*/ 180 h 224"/>
                <a:gd name="T26" fmla="*/ 85 w 144"/>
                <a:gd name="T27" fmla="*/ 16 h 224"/>
                <a:gd name="T28" fmla="*/ 85 w 144"/>
                <a:gd name="T29" fmla="*/ 16 h 224"/>
                <a:gd name="T30" fmla="*/ 88 w 144"/>
                <a:gd name="T31" fmla="*/ 12 h 224"/>
                <a:gd name="T32" fmla="*/ 92 w 144"/>
                <a:gd name="T33" fmla="*/ 7 h 224"/>
                <a:gd name="T34" fmla="*/ 98 w 144"/>
                <a:gd name="T35" fmla="*/ 3 h 224"/>
                <a:gd name="T36" fmla="*/ 102 w 144"/>
                <a:gd name="T37" fmla="*/ 1 h 224"/>
                <a:gd name="T38" fmla="*/ 108 w 144"/>
                <a:gd name="T39" fmla="*/ 0 h 224"/>
                <a:gd name="T40" fmla="*/ 114 w 144"/>
                <a:gd name="T41" fmla="*/ 0 h 224"/>
                <a:gd name="T42" fmla="*/ 120 w 144"/>
                <a:gd name="T43" fmla="*/ 0 h 224"/>
                <a:gd name="T44" fmla="*/ 126 w 144"/>
                <a:gd name="T45" fmla="*/ 3 h 224"/>
                <a:gd name="T46" fmla="*/ 126 w 144"/>
                <a:gd name="T47" fmla="*/ 3 h 224"/>
                <a:gd name="T48" fmla="*/ 132 w 144"/>
                <a:gd name="T49" fmla="*/ 6 h 224"/>
                <a:gd name="T50" fmla="*/ 136 w 144"/>
                <a:gd name="T51" fmla="*/ 10 h 224"/>
                <a:gd name="T52" fmla="*/ 139 w 144"/>
                <a:gd name="T53" fmla="*/ 15 h 224"/>
                <a:gd name="T54" fmla="*/ 142 w 144"/>
                <a:gd name="T55" fmla="*/ 21 h 224"/>
                <a:gd name="T56" fmla="*/ 144 w 144"/>
                <a:gd name="T57" fmla="*/ 27 h 224"/>
                <a:gd name="T58" fmla="*/ 144 w 144"/>
                <a:gd name="T59" fmla="*/ 32 h 224"/>
                <a:gd name="T60" fmla="*/ 142 w 144"/>
                <a:gd name="T61" fmla="*/ 38 h 224"/>
                <a:gd name="T62" fmla="*/ 141 w 144"/>
                <a:gd name="T63" fmla="*/ 44 h 224"/>
                <a:gd name="T64" fmla="*/ 58 w 144"/>
                <a:gd name="T65" fmla="*/ 208 h 224"/>
                <a:gd name="T66" fmla="*/ 58 w 144"/>
                <a:gd name="T67" fmla="*/ 208 h 224"/>
                <a:gd name="T68" fmla="*/ 54 w 144"/>
                <a:gd name="T69" fmla="*/ 214 h 224"/>
                <a:gd name="T70" fmla="*/ 48 w 144"/>
                <a:gd name="T71" fmla="*/ 220 h 224"/>
                <a:gd name="T72" fmla="*/ 39 w 144"/>
                <a:gd name="T73" fmla="*/ 223 h 224"/>
                <a:gd name="T74" fmla="*/ 31 w 144"/>
                <a:gd name="T75" fmla="*/ 224 h 224"/>
                <a:gd name="T76" fmla="*/ 31 w 144"/>
                <a:gd name="T77"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4" h="224">
                  <a:moveTo>
                    <a:pt x="31" y="224"/>
                  </a:moveTo>
                  <a:lnTo>
                    <a:pt x="31" y="224"/>
                  </a:lnTo>
                  <a:lnTo>
                    <a:pt x="24" y="224"/>
                  </a:lnTo>
                  <a:lnTo>
                    <a:pt x="17" y="222"/>
                  </a:lnTo>
                  <a:lnTo>
                    <a:pt x="17" y="222"/>
                  </a:lnTo>
                  <a:lnTo>
                    <a:pt x="12" y="219"/>
                  </a:lnTo>
                  <a:lnTo>
                    <a:pt x="8" y="214"/>
                  </a:lnTo>
                  <a:lnTo>
                    <a:pt x="3" y="210"/>
                  </a:lnTo>
                  <a:lnTo>
                    <a:pt x="2" y="204"/>
                  </a:lnTo>
                  <a:lnTo>
                    <a:pt x="0" y="198"/>
                  </a:lnTo>
                  <a:lnTo>
                    <a:pt x="0" y="192"/>
                  </a:lnTo>
                  <a:lnTo>
                    <a:pt x="0" y="186"/>
                  </a:lnTo>
                  <a:lnTo>
                    <a:pt x="3" y="180"/>
                  </a:lnTo>
                  <a:lnTo>
                    <a:pt x="85" y="16"/>
                  </a:lnTo>
                  <a:lnTo>
                    <a:pt x="85" y="16"/>
                  </a:lnTo>
                  <a:lnTo>
                    <a:pt x="88" y="12"/>
                  </a:lnTo>
                  <a:lnTo>
                    <a:pt x="92" y="7"/>
                  </a:lnTo>
                  <a:lnTo>
                    <a:pt x="98" y="3"/>
                  </a:lnTo>
                  <a:lnTo>
                    <a:pt x="102" y="1"/>
                  </a:lnTo>
                  <a:lnTo>
                    <a:pt x="108" y="0"/>
                  </a:lnTo>
                  <a:lnTo>
                    <a:pt x="114" y="0"/>
                  </a:lnTo>
                  <a:lnTo>
                    <a:pt x="120" y="0"/>
                  </a:lnTo>
                  <a:lnTo>
                    <a:pt x="126" y="3"/>
                  </a:lnTo>
                  <a:lnTo>
                    <a:pt x="126" y="3"/>
                  </a:lnTo>
                  <a:lnTo>
                    <a:pt x="132" y="6"/>
                  </a:lnTo>
                  <a:lnTo>
                    <a:pt x="136" y="10"/>
                  </a:lnTo>
                  <a:lnTo>
                    <a:pt x="139" y="15"/>
                  </a:lnTo>
                  <a:lnTo>
                    <a:pt x="142" y="21"/>
                  </a:lnTo>
                  <a:lnTo>
                    <a:pt x="144" y="27"/>
                  </a:lnTo>
                  <a:lnTo>
                    <a:pt x="144" y="32"/>
                  </a:lnTo>
                  <a:lnTo>
                    <a:pt x="142" y="38"/>
                  </a:lnTo>
                  <a:lnTo>
                    <a:pt x="141" y="44"/>
                  </a:lnTo>
                  <a:lnTo>
                    <a:pt x="58" y="208"/>
                  </a:lnTo>
                  <a:lnTo>
                    <a:pt x="58" y="208"/>
                  </a:lnTo>
                  <a:lnTo>
                    <a:pt x="54" y="214"/>
                  </a:lnTo>
                  <a:lnTo>
                    <a:pt x="48" y="220"/>
                  </a:lnTo>
                  <a:lnTo>
                    <a:pt x="39" y="223"/>
                  </a:lnTo>
                  <a:lnTo>
                    <a:pt x="31" y="224"/>
                  </a:lnTo>
                  <a:lnTo>
                    <a:pt x="31"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chemeClr val="bg1"/>
                </a:solidFill>
              </a:endParaRPr>
            </a:p>
          </p:txBody>
        </p:sp>
        <p:sp>
          <p:nvSpPr>
            <p:cNvPr id="21" name="Freeform 400"/>
            <p:cNvSpPr>
              <a:spLocks/>
            </p:cNvSpPr>
            <p:nvPr/>
          </p:nvSpPr>
          <p:spPr bwMode="auto">
            <a:xfrm>
              <a:off x="3727902" y="3202024"/>
              <a:ext cx="74864" cy="53328"/>
            </a:xfrm>
            <a:custGeom>
              <a:avLst/>
              <a:gdLst>
                <a:gd name="T0" fmla="*/ 188 w 219"/>
                <a:gd name="T1" fmla="*/ 157 h 157"/>
                <a:gd name="T2" fmla="*/ 188 w 219"/>
                <a:gd name="T3" fmla="*/ 157 h 157"/>
                <a:gd name="T4" fmla="*/ 179 w 219"/>
                <a:gd name="T5" fmla="*/ 155 h 157"/>
                <a:gd name="T6" fmla="*/ 171 w 219"/>
                <a:gd name="T7" fmla="*/ 152 h 157"/>
                <a:gd name="T8" fmla="*/ 15 w 219"/>
                <a:gd name="T9" fmla="*/ 58 h 157"/>
                <a:gd name="T10" fmla="*/ 15 w 219"/>
                <a:gd name="T11" fmla="*/ 58 h 157"/>
                <a:gd name="T12" fmla="*/ 10 w 219"/>
                <a:gd name="T13" fmla="*/ 55 h 157"/>
                <a:gd name="T14" fmla="*/ 6 w 219"/>
                <a:gd name="T15" fmla="*/ 50 h 157"/>
                <a:gd name="T16" fmla="*/ 3 w 219"/>
                <a:gd name="T17" fmla="*/ 44 h 157"/>
                <a:gd name="T18" fmla="*/ 0 w 219"/>
                <a:gd name="T19" fmla="*/ 38 h 157"/>
                <a:gd name="T20" fmla="*/ 0 w 219"/>
                <a:gd name="T21" fmla="*/ 34 h 157"/>
                <a:gd name="T22" fmla="*/ 0 w 219"/>
                <a:gd name="T23" fmla="*/ 27 h 157"/>
                <a:gd name="T24" fmla="*/ 2 w 219"/>
                <a:gd name="T25" fmla="*/ 21 h 157"/>
                <a:gd name="T26" fmla="*/ 5 w 219"/>
                <a:gd name="T27" fmla="*/ 16 h 157"/>
                <a:gd name="T28" fmla="*/ 5 w 219"/>
                <a:gd name="T29" fmla="*/ 16 h 157"/>
                <a:gd name="T30" fmla="*/ 7 w 219"/>
                <a:gd name="T31" fmla="*/ 10 h 157"/>
                <a:gd name="T32" fmla="*/ 12 w 219"/>
                <a:gd name="T33" fmla="*/ 6 h 157"/>
                <a:gd name="T34" fmla="*/ 18 w 219"/>
                <a:gd name="T35" fmla="*/ 3 h 157"/>
                <a:gd name="T36" fmla="*/ 24 w 219"/>
                <a:gd name="T37" fmla="*/ 1 h 157"/>
                <a:gd name="T38" fmla="*/ 30 w 219"/>
                <a:gd name="T39" fmla="*/ 0 h 157"/>
                <a:gd name="T40" fmla="*/ 36 w 219"/>
                <a:gd name="T41" fmla="*/ 1 h 157"/>
                <a:gd name="T42" fmla="*/ 41 w 219"/>
                <a:gd name="T43" fmla="*/ 1 h 157"/>
                <a:gd name="T44" fmla="*/ 46 w 219"/>
                <a:gd name="T45" fmla="*/ 4 h 157"/>
                <a:gd name="T46" fmla="*/ 204 w 219"/>
                <a:gd name="T47" fmla="*/ 99 h 157"/>
                <a:gd name="T48" fmla="*/ 204 w 219"/>
                <a:gd name="T49" fmla="*/ 99 h 157"/>
                <a:gd name="T50" fmla="*/ 208 w 219"/>
                <a:gd name="T51" fmla="*/ 102 h 157"/>
                <a:gd name="T52" fmla="*/ 213 w 219"/>
                <a:gd name="T53" fmla="*/ 106 h 157"/>
                <a:gd name="T54" fmla="*/ 216 w 219"/>
                <a:gd name="T55" fmla="*/ 112 h 157"/>
                <a:gd name="T56" fmla="*/ 217 w 219"/>
                <a:gd name="T57" fmla="*/ 117 h 157"/>
                <a:gd name="T58" fmla="*/ 219 w 219"/>
                <a:gd name="T59" fmla="*/ 123 h 157"/>
                <a:gd name="T60" fmla="*/ 219 w 219"/>
                <a:gd name="T61" fmla="*/ 130 h 157"/>
                <a:gd name="T62" fmla="*/ 217 w 219"/>
                <a:gd name="T63" fmla="*/ 136 h 157"/>
                <a:gd name="T64" fmla="*/ 214 w 219"/>
                <a:gd name="T65" fmla="*/ 140 h 157"/>
                <a:gd name="T66" fmla="*/ 214 w 219"/>
                <a:gd name="T67" fmla="*/ 140 h 157"/>
                <a:gd name="T68" fmla="*/ 208 w 219"/>
                <a:gd name="T69" fmla="*/ 148 h 157"/>
                <a:gd name="T70" fmla="*/ 202 w 219"/>
                <a:gd name="T71" fmla="*/ 152 h 157"/>
                <a:gd name="T72" fmla="*/ 195 w 219"/>
                <a:gd name="T73" fmla="*/ 155 h 157"/>
                <a:gd name="T74" fmla="*/ 188 w 219"/>
                <a:gd name="T75" fmla="*/ 157 h 157"/>
                <a:gd name="T76" fmla="*/ 188 w 219"/>
                <a:gd name="T7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157">
                  <a:moveTo>
                    <a:pt x="188" y="157"/>
                  </a:moveTo>
                  <a:lnTo>
                    <a:pt x="188" y="157"/>
                  </a:lnTo>
                  <a:lnTo>
                    <a:pt x="179" y="155"/>
                  </a:lnTo>
                  <a:lnTo>
                    <a:pt x="171" y="152"/>
                  </a:lnTo>
                  <a:lnTo>
                    <a:pt x="15" y="58"/>
                  </a:lnTo>
                  <a:lnTo>
                    <a:pt x="15" y="58"/>
                  </a:lnTo>
                  <a:lnTo>
                    <a:pt x="10" y="55"/>
                  </a:lnTo>
                  <a:lnTo>
                    <a:pt x="6" y="50"/>
                  </a:lnTo>
                  <a:lnTo>
                    <a:pt x="3" y="44"/>
                  </a:lnTo>
                  <a:lnTo>
                    <a:pt x="0" y="38"/>
                  </a:lnTo>
                  <a:lnTo>
                    <a:pt x="0" y="34"/>
                  </a:lnTo>
                  <a:lnTo>
                    <a:pt x="0" y="27"/>
                  </a:lnTo>
                  <a:lnTo>
                    <a:pt x="2" y="21"/>
                  </a:lnTo>
                  <a:lnTo>
                    <a:pt x="5" y="16"/>
                  </a:lnTo>
                  <a:lnTo>
                    <a:pt x="5" y="16"/>
                  </a:lnTo>
                  <a:lnTo>
                    <a:pt x="7" y="10"/>
                  </a:lnTo>
                  <a:lnTo>
                    <a:pt x="12" y="6"/>
                  </a:lnTo>
                  <a:lnTo>
                    <a:pt x="18" y="3"/>
                  </a:lnTo>
                  <a:lnTo>
                    <a:pt x="24" y="1"/>
                  </a:lnTo>
                  <a:lnTo>
                    <a:pt x="30" y="0"/>
                  </a:lnTo>
                  <a:lnTo>
                    <a:pt x="36" y="1"/>
                  </a:lnTo>
                  <a:lnTo>
                    <a:pt x="41" y="1"/>
                  </a:lnTo>
                  <a:lnTo>
                    <a:pt x="46" y="4"/>
                  </a:lnTo>
                  <a:lnTo>
                    <a:pt x="204" y="99"/>
                  </a:lnTo>
                  <a:lnTo>
                    <a:pt x="204" y="99"/>
                  </a:lnTo>
                  <a:lnTo>
                    <a:pt x="208" y="102"/>
                  </a:lnTo>
                  <a:lnTo>
                    <a:pt x="213" y="106"/>
                  </a:lnTo>
                  <a:lnTo>
                    <a:pt x="216" y="112"/>
                  </a:lnTo>
                  <a:lnTo>
                    <a:pt x="217" y="117"/>
                  </a:lnTo>
                  <a:lnTo>
                    <a:pt x="219" y="123"/>
                  </a:lnTo>
                  <a:lnTo>
                    <a:pt x="219" y="130"/>
                  </a:lnTo>
                  <a:lnTo>
                    <a:pt x="217" y="136"/>
                  </a:lnTo>
                  <a:lnTo>
                    <a:pt x="214" y="140"/>
                  </a:lnTo>
                  <a:lnTo>
                    <a:pt x="214" y="140"/>
                  </a:lnTo>
                  <a:lnTo>
                    <a:pt x="208" y="148"/>
                  </a:lnTo>
                  <a:lnTo>
                    <a:pt x="202" y="152"/>
                  </a:lnTo>
                  <a:lnTo>
                    <a:pt x="195" y="155"/>
                  </a:lnTo>
                  <a:lnTo>
                    <a:pt x="188" y="157"/>
                  </a:lnTo>
                  <a:lnTo>
                    <a:pt x="188" y="1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chemeClr val="bg1"/>
                </a:solidFill>
              </a:endParaRPr>
            </a:p>
          </p:txBody>
        </p:sp>
      </p:grpSp>
      <p:sp>
        <p:nvSpPr>
          <p:cNvPr id="65" name="Technology Enablement List"/>
          <p:cNvSpPr/>
          <p:nvPr/>
        </p:nvSpPr>
        <p:spPr>
          <a:xfrm>
            <a:off x="2602011" y="2637501"/>
            <a:ext cx="1581203" cy="595548"/>
          </a:xfrm>
          <a:prstGeom prst="rect">
            <a:avLst/>
          </a:prstGeom>
          <a:noFill/>
          <a:ln>
            <a:noFill/>
          </a:ln>
        </p:spPr>
        <p:txBody>
          <a:bodyPr wrap="square" lIns="89154" tIns="68580" rIns="68580" bIns="68580">
            <a:spAutoFit/>
          </a:bodyPr>
          <a:lstStyle/>
          <a:p>
            <a:pPr algn="ctr" defTabSz="914340">
              <a:lnSpc>
                <a:spcPct val="90000"/>
              </a:lnSpc>
            </a:pPr>
            <a:r>
              <a:rPr lang="en-US" sz="1100" kern="0" spc="50" dirty="0">
                <a:solidFill>
                  <a:schemeClr val="bg1"/>
                </a:solidFill>
                <a:ea typeface="Apex New Light" pitchFamily="50" charset="0"/>
                <a:cs typeface="TradeGothic Bold"/>
              </a:rPr>
              <a:t>Developer Documentation</a:t>
            </a:r>
          </a:p>
          <a:p>
            <a:pPr algn="ctr" defTabSz="914340">
              <a:lnSpc>
                <a:spcPct val="90000"/>
              </a:lnSpc>
            </a:pPr>
            <a:endParaRPr lang="en-US" sz="1100" kern="0" spc="50" dirty="0">
              <a:solidFill>
                <a:schemeClr val="bg1"/>
              </a:solidFill>
              <a:latin typeface="Arial"/>
              <a:ea typeface="Apex New Light" pitchFamily="50" charset="0"/>
              <a:cs typeface="TradeGothic Bold"/>
            </a:endParaRPr>
          </a:p>
        </p:txBody>
      </p:sp>
      <p:grpSp>
        <p:nvGrpSpPr>
          <p:cNvPr id="22" name="Group 21"/>
          <p:cNvGrpSpPr/>
          <p:nvPr/>
        </p:nvGrpSpPr>
        <p:grpSpPr>
          <a:xfrm>
            <a:off x="3138144" y="2149582"/>
            <a:ext cx="515360" cy="415150"/>
            <a:chOff x="2467732" y="1018693"/>
            <a:chExt cx="439092" cy="353713"/>
          </a:xfrm>
          <a:solidFill>
            <a:schemeClr val="bg1"/>
          </a:solidFill>
        </p:grpSpPr>
        <p:sp>
          <p:nvSpPr>
            <p:cNvPr id="23" name="Freeform 174"/>
            <p:cNvSpPr>
              <a:spLocks/>
            </p:cNvSpPr>
            <p:nvPr/>
          </p:nvSpPr>
          <p:spPr bwMode="auto">
            <a:xfrm>
              <a:off x="2805182" y="1295158"/>
              <a:ext cx="27443" cy="26427"/>
            </a:xfrm>
            <a:custGeom>
              <a:avLst/>
              <a:gdLst>
                <a:gd name="T0" fmla="*/ 0 w 80"/>
                <a:gd name="T1" fmla="*/ 40 h 80"/>
                <a:gd name="T2" fmla="*/ 0 w 80"/>
                <a:gd name="T3" fmla="*/ 40 h 80"/>
                <a:gd name="T4" fmla="*/ 0 w 80"/>
                <a:gd name="T5" fmla="*/ 49 h 80"/>
                <a:gd name="T6" fmla="*/ 3 w 80"/>
                <a:gd name="T7" fmla="*/ 56 h 80"/>
                <a:gd name="T8" fmla="*/ 6 w 80"/>
                <a:gd name="T9" fmla="*/ 63 h 80"/>
                <a:gd name="T10" fmla="*/ 12 w 80"/>
                <a:gd name="T11" fmla="*/ 69 h 80"/>
                <a:gd name="T12" fmla="*/ 18 w 80"/>
                <a:gd name="T13" fmla="*/ 74 h 80"/>
                <a:gd name="T14" fmla="*/ 24 w 80"/>
                <a:gd name="T15" fmla="*/ 77 h 80"/>
                <a:gd name="T16" fmla="*/ 31 w 80"/>
                <a:gd name="T17" fmla="*/ 80 h 80"/>
                <a:gd name="T18" fmla="*/ 40 w 80"/>
                <a:gd name="T19" fmla="*/ 80 h 80"/>
                <a:gd name="T20" fmla="*/ 40 w 80"/>
                <a:gd name="T21" fmla="*/ 80 h 80"/>
                <a:gd name="T22" fmla="*/ 47 w 80"/>
                <a:gd name="T23" fmla="*/ 80 h 80"/>
                <a:gd name="T24" fmla="*/ 55 w 80"/>
                <a:gd name="T25" fmla="*/ 77 h 80"/>
                <a:gd name="T26" fmla="*/ 62 w 80"/>
                <a:gd name="T27" fmla="*/ 74 h 80"/>
                <a:gd name="T28" fmla="*/ 68 w 80"/>
                <a:gd name="T29" fmla="*/ 69 h 80"/>
                <a:gd name="T30" fmla="*/ 73 w 80"/>
                <a:gd name="T31" fmla="*/ 63 h 80"/>
                <a:gd name="T32" fmla="*/ 77 w 80"/>
                <a:gd name="T33" fmla="*/ 56 h 80"/>
                <a:gd name="T34" fmla="*/ 79 w 80"/>
                <a:gd name="T35" fmla="*/ 49 h 80"/>
                <a:gd name="T36" fmla="*/ 80 w 80"/>
                <a:gd name="T37" fmla="*/ 40 h 80"/>
                <a:gd name="T38" fmla="*/ 80 w 80"/>
                <a:gd name="T39" fmla="*/ 40 h 80"/>
                <a:gd name="T40" fmla="*/ 79 w 80"/>
                <a:gd name="T41" fmla="*/ 32 h 80"/>
                <a:gd name="T42" fmla="*/ 77 w 80"/>
                <a:gd name="T43" fmla="*/ 25 h 80"/>
                <a:gd name="T44" fmla="*/ 73 w 80"/>
                <a:gd name="T45" fmla="*/ 17 h 80"/>
                <a:gd name="T46" fmla="*/ 68 w 80"/>
                <a:gd name="T47" fmla="*/ 11 h 80"/>
                <a:gd name="T48" fmla="*/ 62 w 80"/>
                <a:gd name="T49" fmla="*/ 7 h 80"/>
                <a:gd name="T50" fmla="*/ 55 w 80"/>
                <a:gd name="T51" fmla="*/ 4 h 80"/>
                <a:gd name="T52" fmla="*/ 47 w 80"/>
                <a:gd name="T53" fmla="*/ 1 h 80"/>
                <a:gd name="T54" fmla="*/ 40 w 80"/>
                <a:gd name="T55" fmla="*/ 0 h 80"/>
                <a:gd name="T56" fmla="*/ 40 w 80"/>
                <a:gd name="T57" fmla="*/ 0 h 80"/>
                <a:gd name="T58" fmla="*/ 31 w 80"/>
                <a:gd name="T59" fmla="*/ 1 h 80"/>
                <a:gd name="T60" fmla="*/ 24 w 80"/>
                <a:gd name="T61" fmla="*/ 4 h 80"/>
                <a:gd name="T62" fmla="*/ 18 w 80"/>
                <a:gd name="T63" fmla="*/ 7 h 80"/>
                <a:gd name="T64" fmla="*/ 12 w 80"/>
                <a:gd name="T65" fmla="*/ 11 h 80"/>
                <a:gd name="T66" fmla="*/ 6 w 80"/>
                <a:gd name="T67" fmla="*/ 17 h 80"/>
                <a:gd name="T68" fmla="*/ 3 w 80"/>
                <a:gd name="T69" fmla="*/ 25 h 80"/>
                <a:gd name="T70" fmla="*/ 0 w 80"/>
                <a:gd name="T71" fmla="*/ 32 h 80"/>
                <a:gd name="T72" fmla="*/ 0 w 80"/>
                <a:gd name="T73" fmla="*/ 40 h 80"/>
                <a:gd name="T74" fmla="*/ 0 w 80"/>
                <a:gd name="T75" fmla="*/ 4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0" y="40"/>
                  </a:moveTo>
                  <a:lnTo>
                    <a:pt x="0" y="40"/>
                  </a:lnTo>
                  <a:lnTo>
                    <a:pt x="0" y="49"/>
                  </a:lnTo>
                  <a:lnTo>
                    <a:pt x="3" y="56"/>
                  </a:lnTo>
                  <a:lnTo>
                    <a:pt x="6" y="63"/>
                  </a:lnTo>
                  <a:lnTo>
                    <a:pt x="12" y="69"/>
                  </a:lnTo>
                  <a:lnTo>
                    <a:pt x="18" y="74"/>
                  </a:lnTo>
                  <a:lnTo>
                    <a:pt x="24" y="77"/>
                  </a:lnTo>
                  <a:lnTo>
                    <a:pt x="31" y="80"/>
                  </a:lnTo>
                  <a:lnTo>
                    <a:pt x="40" y="80"/>
                  </a:lnTo>
                  <a:lnTo>
                    <a:pt x="40" y="80"/>
                  </a:lnTo>
                  <a:lnTo>
                    <a:pt x="47" y="80"/>
                  </a:lnTo>
                  <a:lnTo>
                    <a:pt x="55" y="77"/>
                  </a:lnTo>
                  <a:lnTo>
                    <a:pt x="62" y="74"/>
                  </a:lnTo>
                  <a:lnTo>
                    <a:pt x="68" y="69"/>
                  </a:lnTo>
                  <a:lnTo>
                    <a:pt x="73" y="63"/>
                  </a:lnTo>
                  <a:lnTo>
                    <a:pt x="77" y="56"/>
                  </a:lnTo>
                  <a:lnTo>
                    <a:pt x="79" y="49"/>
                  </a:lnTo>
                  <a:lnTo>
                    <a:pt x="80" y="40"/>
                  </a:lnTo>
                  <a:lnTo>
                    <a:pt x="80" y="40"/>
                  </a:lnTo>
                  <a:lnTo>
                    <a:pt x="79" y="32"/>
                  </a:lnTo>
                  <a:lnTo>
                    <a:pt x="77" y="25"/>
                  </a:lnTo>
                  <a:lnTo>
                    <a:pt x="73" y="17"/>
                  </a:lnTo>
                  <a:lnTo>
                    <a:pt x="68" y="11"/>
                  </a:lnTo>
                  <a:lnTo>
                    <a:pt x="62" y="7"/>
                  </a:lnTo>
                  <a:lnTo>
                    <a:pt x="55" y="4"/>
                  </a:lnTo>
                  <a:lnTo>
                    <a:pt x="47" y="1"/>
                  </a:lnTo>
                  <a:lnTo>
                    <a:pt x="40" y="0"/>
                  </a:lnTo>
                  <a:lnTo>
                    <a:pt x="40" y="0"/>
                  </a:lnTo>
                  <a:lnTo>
                    <a:pt x="31" y="1"/>
                  </a:lnTo>
                  <a:lnTo>
                    <a:pt x="24" y="4"/>
                  </a:lnTo>
                  <a:lnTo>
                    <a:pt x="18" y="7"/>
                  </a:lnTo>
                  <a:lnTo>
                    <a:pt x="12" y="11"/>
                  </a:lnTo>
                  <a:lnTo>
                    <a:pt x="6" y="17"/>
                  </a:lnTo>
                  <a:lnTo>
                    <a:pt x="3" y="25"/>
                  </a:lnTo>
                  <a:lnTo>
                    <a:pt x="0" y="32"/>
                  </a:lnTo>
                  <a:lnTo>
                    <a:pt x="0" y="40"/>
                  </a:ln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chemeClr val="bg1"/>
                </a:solidFill>
              </a:endParaRPr>
            </a:p>
          </p:txBody>
        </p:sp>
        <p:sp>
          <p:nvSpPr>
            <p:cNvPr id="24" name="Freeform 175"/>
            <p:cNvSpPr>
              <a:spLocks/>
            </p:cNvSpPr>
            <p:nvPr/>
          </p:nvSpPr>
          <p:spPr bwMode="auto">
            <a:xfrm>
              <a:off x="2557177" y="1351061"/>
              <a:ext cx="140265" cy="21345"/>
            </a:xfrm>
            <a:custGeom>
              <a:avLst/>
              <a:gdLst>
                <a:gd name="T0" fmla="*/ 383 w 414"/>
                <a:gd name="T1" fmla="*/ 62 h 62"/>
                <a:gd name="T2" fmla="*/ 32 w 414"/>
                <a:gd name="T3" fmla="*/ 62 h 62"/>
                <a:gd name="T4" fmla="*/ 32 w 414"/>
                <a:gd name="T5" fmla="*/ 62 h 62"/>
                <a:gd name="T6" fmla="*/ 26 w 414"/>
                <a:gd name="T7" fmla="*/ 61 h 62"/>
                <a:gd name="T8" fmla="*/ 20 w 414"/>
                <a:gd name="T9" fmla="*/ 59 h 62"/>
                <a:gd name="T10" fmla="*/ 15 w 414"/>
                <a:gd name="T11" fmla="*/ 56 h 62"/>
                <a:gd name="T12" fmla="*/ 11 w 414"/>
                <a:gd name="T13" fmla="*/ 54 h 62"/>
                <a:gd name="T14" fmla="*/ 6 w 414"/>
                <a:gd name="T15" fmla="*/ 48 h 62"/>
                <a:gd name="T16" fmla="*/ 3 w 414"/>
                <a:gd name="T17" fmla="*/ 43 h 62"/>
                <a:gd name="T18" fmla="*/ 2 w 414"/>
                <a:gd name="T19" fmla="*/ 37 h 62"/>
                <a:gd name="T20" fmla="*/ 0 w 414"/>
                <a:gd name="T21" fmla="*/ 31 h 62"/>
                <a:gd name="T22" fmla="*/ 0 w 414"/>
                <a:gd name="T23" fmla="*/ 31 h 62"/>
                <a:gd name="T24" fmla="*/ 2 w 414"/>
                <a:gd name="T25" fmla="*/ 24 h 62"/>
                <a:gd name="T26" fmla="*/ 3 w 414"/>
                <a:gd name="T27" fmla="*/ 19 h 62"/>
                <a:gd name="T28" fmla="*/ 6 w 414"/>
                <a:gd name="T29" fmla="*/ 13 h 62"/>
                <a:gd name="T30" fmla="*/ 11 w 414"/>
                <a:gd name="T31" fmla="*/ 9 h 62"/>
                <a:gd name="T32" fmla="*/ 15 w 414"/>
                <a:gd name="T33" fmla="*/ 4 h 62"/>
                <a:gd name="T34" fmla="*/ 20 w 414"/>
                <a:gd name="T35" fmla="*/ 1 h 62"/>
                <a:gd name="T36" fmla="*/ 26 w 414"/>
                <a:gd name="T37" fmla="*/ 0 h 62"/>
                <a:gd name="T38" fmla="*/ 32 w 414"/>
                <a:gd name="T39" fmla="*/ 0 h 62"/>
                <a:gd name="T40" fmla="*/ 383 w 414"/>
                <a:gd name="T41" fmla="*/ 0 h 62"/>
                <a:gd name="T42" fmla="*/ 383 w 414"/>
                <a:gd name="T43" fmla="*/ 0 h 62"/>
                <a:gd name="T44" fmla="*/ 390 w 414"/>
                <a:gd name="T45" fmla="*/ 0 h 62"/>
                <a:gd name="T46" fmla="*/ 394 w 414"/>
                <a:gd name="T47" fmla="*/ 1 h 62"/>
                <a:gd name="T48" fmla="*/ 400 w 414"/>
                <a:gd name="T49" fmla="*/ 4 h 62"/>
                <a:gd name="T50" fmla="*/ 405 w 414"/>
                <a:gd name="T51" fmla="*/ 9 h 62"/>
                <a:gd name="T52" fmla="*/ 409 w 414"/>
                <a:gd name="T53" fmla="*/ 13 h 62"/>
                <a:gd name="T54" fmla="*/ 412 w 414"/>
                <a:gd name="T55" fmla="*/ 19 h 62"/>
                <a:gd name="T56" fmla="*/ 414 w 414"/>
                <a:gd name="T57" fmla="*/ 24 h 62"/>
                <a:gd name="T58" fmla="*/ 414 w 414"/>
                <a:gd name="T59" fmla="*/ 31 h 62"/>
                <a:gd name="T60" fmla="*/ 414 w 414"/>
                <a:gd name="T61" fmla="*/ 31 h 62"/>
                <a:gd name="T62" fmla="*/ 414 w 414"/>
                <a:gd name="T63" fmla="*/ 37 h 62"/>
                <a:gd name="T64" fmla="*/ 412 w 414"/>
                <a:gd name="T65" fmla="*/ 43 h 62"/>
                <a:gd name="T66" fmla="*/ 409 w 414"/>
                <a:gd name="T67" fmla="*/ 48 h 62"/>
                <a:gd name="T68" fmla="*/ 405 w 414"/>
                <a:gd name="T69" fmla="*/ 54 h 62"/>
                <a:gd name="T70" fmla="*/ 400 w 414"/>
                <a:gd name="T71" fmla="*/ 56 h 62"/>
                <a:gd name="T72" fmla="*/ 394 w 414"/>
                <a:gd name="T73" fmla="*/ 59 h 62"/>
                <a:gd name="T74" fmla="*/ 390 w 414"/>
                <a:gd name="T75" fmla="*/ 61 h 62"/>
                <a:gd name="T76" fmla="*/ 383 w 414"/>
                <a:gd name="T77" fmla="*/ 62 h 62"/>
                <a:gd name="T78" fmla="*/ 383 w 414"/>
                <a:gd name="T79"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4" h="62">
                  <a:moveTo>
                    <a:pt x="383" y="62"/>
                  </a:moveTo>
                  <a:lnTo>
                    <a:pt x="32" y="62"/>
                  </a:lnTo>
                  <a:lnTo>
                    <a:pt x="32" y="62"/>
                  </a:lnTo>
                  <a:lnTo>
                    <a:pt x="26" y="61"/>
                  </a:lnTo>
                  <a:lnTo>
                    <a:pt x="20" y="59"/>
                  </a:lnTo>
                  <a:lnTo>
                    <a:pt x="15" y="56"/>
                  </a:lnTo>
                  <a:lnTo>
                    <a:pt x="11" y="54"/>
                  </a:lnTo>
                  <a:lnTo>
                    <a:pt x="6" y="48"/>
                  </a:lnTo>
                  <a:lnTo>
                    <a:pt x="3" y="43"/>
                  </a:lnTo>
                  <a:lnTo>
                    <a:pt x="2" y="37"/>
                  </a:lnTo>
                  <a:lnTo>
                    <a:pt x="0" y="31"/>
                  </a:lnTo>
                  <a:lnTo>
                    <a:pt x="0" y="31"/>
                  </a:lnTo>
                  <a:lnTo>
                    <a:pt x="2" y="24"/>
                  </a:lnTo>
                  <a:lnTo>
                    <a:pt x="3" y="19"/>
                  </a:lnTo>
                  <a:lnTo>
                    <a:pt x="6" y="13"/>
                  </a:lnTo>
                  <a:lnTo>
                    <a:pt x="11" y="9"/>
                  </a:lnTo>
                  <a:lnTo>
                    <a:pt x="15" y="4"/>
                  </a:lnTo>
                  <a:lnTo>
                    <a:pt x="20" y="1"/>
                  </a:lnTo>
                  <a:lnTo>
                    <a:pt x="26" y="0"/>
                  </a:lnTo>
                  <a:lnTo>
                    <a:pt x="32" y="0"/>
                  </a:lnTo>
                  <a:lnTo>
                    <a:pt x="383" y="0"/>
                  </a:lnTo>
                  <a:lnTo>
                    <a:pt x="383" y="0"/>
                  </a:lnTo>
                  <a:lnTo>
                    <a:pt x="390" y="0"/>
                  </a:lnTo>
                  <a:lnTo>
                    <a:pt x="394" y="1"/>
                  </a:lnTo>
                  <a:lnTo>
                    <a:pt x="400" y="4"/>
                  </a:lnTo>
                  <a:lnTo>
                    <a:pt x="405" y="9"/>
                  </a:lnTo>
                  <a:lnTo>
                    <a:pt x="409" y="13"/>
                  </a:lnTo>
                  <a:lnTo>
                    <a:pt x="412" y="19"/>
                  </a:lnTo>
                  <a:lnTo>
                    <a:pt x="414" y="24"/>
                  </a:lnTo>
                  <a:lnTo>
                    <a:pt x="414" y="31"/>
                  </a:lnTo>
                  <a:lnTo>
                    <a:pt x="414" y="31"/>
                  </a:lnTo>
                  <a:lnTo>
                    <a:pt x="414" y="37"/>
                  </a:lnTo>
                  <a:lnTo>
                    <a:pt x="412" y="43"/>
                  </a:lnTo>
                  <a:lnTo>
                    <a:pt x="409" y="48"/>
                  </a:lnTo>
                  <a:lnTo>
                    <a:pt x="405" y="54"/>
                  </a:lnTo>
                  <a:lnTo>
                    <a:pt x="400" y="56"/>
                  </a:lnTo>
                  <a:lnTo>
                    <a:pt x="394" y="59"/>
                  </a:lnTo>
                  <a:lnTo>
                    <a:pt x="390" y="61"/>
                  </a:lnTo>
                  <a:lnTo>
                    <a:pt x="383" y="62"/>
                  </a:lnTo>
                  <a:lnTo>
                    <a:pt x="383"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chemeClr val="bg1"/>
                </a:solidFill>
              </a:endParaRPr>
            </a:p>
          </p:txBody>
        </p:sp>
        <p:sp>
          <p:nvSpPr>
            <p:cNvPr id="26" name="Freeform 176"/>
            <p:cNvSpPr>
              <a:spLocks/>
            </p:cNvSpPr>
            <p:nvPr/>
          </p:nvSpPr>
          <p:spPr bwMode="auto">
            <a:xfrm>
              <a:off x="2730984" y="1018693"/>
              <a:ext cx="175840" cy="353713"/>
            </a:xfrm>
            <a:custGeom>
              <a:avLst/>
              <a:gdLst>
                <a:gd name="T0" fmla="*/ 125 w 519"/>
                <a:gd name="T1" fmla="*/ 0 h 1043"/>
                <a:gd name="T2" fmla="*/ 113 w 519"/>
                <a:gd name="T3" fmla="*/ 0 h 1043"/>
                <a:gd name="T4" fmla="*/ 88 w 519"/>
                <a:gd name="T5" fmla="*/ 6 h 1043"/>
                <a:gd name="T6" fmla="*/ 65 w 519"/>
                <a:gd name="T7" fmla="*/ 15 h 1043"/>
                <a:gd name="T8" fmla="*/ 46 w 519"/>
                <a:gd name="T9" fmla="*/ 28 h 1043"/>
                <a:gd name="T10" fmla="*/ 30 w 519"/>
                <a:gd name="T11" fmla="*/ 45 h 1043"/>
                <a:gd name="T12" fmla="*/ 16 w 519"/>
                <a:gd name="T13" fmla="*/ 65 h 1043"/>
                <a:gd name="T14" fmla="*/ 6 w 519"/>
                <a:gd name="T15" fmla="*/ 88 h 1043"/>
                <a:gd name="T16" fmla="*/ 1 w 519"/>
                <a:gd name="T17" fmla="*/ 111 h 1043"/>
                <a:gd name="T18" fmla="*/ 0 w 519"/>
                <a:gd name="T19" fmla="*/ 174 h 1043"/>
                <a:gd name="T20" fmla="*/ 62 w 519"/>
                <a:gd name="T21" fmla="*/ 125 h 1043"/>
                <a:gd name="T22" fmla="*/ 64 w 519"/>
                <a:gd name="T23" fmla="*/ 111 h 1043"/>
                <a:gd name="T24" fmla="*/ 74 w 519"/>
                <a:gd name="T25" fmla="*/ 89 h 1043"/>
                <a:gd name="T26" fmla="*/ 91 w 519"/>
                <a:gd name="T27" fmla="*/ 73 h 1043"/>
                <a:gd name="T28" fmla="*/ 113 w 519"/>
                <a:gd name="T29" fmla="*/ 64 h 1043"/>
                <a:gd name="T30" fmla="*/ 394 w 519"/>
                <a:gd name="T31" fmla="*/ 62 h 1043"/>
                <a:gd name="T32" fmla="*/ 407 w 519"/>
                <a:gd name="T33" fmla="*/ 64 h 1043"/>
                <a:gd name="T34" fmla="*/ 429 w 519"/>
                <a:gd name="T35" fmla="*/ 73 h 1043"/>
                <a:gd name="T36" fmla="*/ 446 w 519"/>
                <a:gd name="T37" fmla="*/ 89 h 1043"/>
                <a:gd name="T38" fmla="*/ 455 w 519"/>
                <a:gd name="T39" fmla="*/ 111 h 1043"/>
                <a:gd name="T40" fmla="*/ 456 w 519"/>
                <a:gd name="T41" fmla="*/ 919 h 1043"/>
                <a:gd name="T42" fmla="*/ 455 w 519"/>
                <a:gd name="T43" fmla="*/ 930 h 1043"/>
                <a:gd name="T44" fmla="*/ 446 w 519"/>
                <a:gd name="T45" fmla="*/ 953 h 1043"/>
                <a:gd name="T46" fmla="*/ 429 w 519"/>
                <a:gd name="T47" fmla="*/ 971 h 1043"/>
                <a:gd name="T48" fmla="*/ 407 w 519"/>
                <a:gd name="T49" fmla="*/ 980 h 1043"/>
                <a:gd name="T50" fmla="*/ 18 w 519"/>
                <a:gd name="T51" fmla="*/ 980 h 1043"/>
                <a:gd name="T52" fmla="*/ 27 w 519"/>
                <a:gd name="T53" fmla="*/ 994 h 1043"/>
                <a:gd name="T54" fmla="*/ 49 w 519"/>
                <a:gd name="T55" fmla="*/ 1017 h 1043"/>
                <a:gd name="T56" fmla="*/ 77 w 519"/>
                <a:gd name="T57" fmla="*/ 1033 h 1043"/>
                <a:gd name="T58" fmla="*/ 108 w 519"/>
                <a:gd name="T59" fmla="*/ 1042 h 1043"/>
                <a:gd name="T60" fmla="*/ 394 w 519"/>
                <a:gd name="T61" fmla="*/ 1043 h 1043"/>
                <a:gd name="T62" fmla="*/ 407 w 519"/>
                <a:gd name="T63" fmla="*/ 1042 h 1043"/>
                <a:gd name="T64" fmla="*/ 431 w 519"/>
                <a:gd name="T65" fmla="*/ 1037 h 1043"/>
                <a:gd name="T66" fmla="*/ 453 w 519"/>
                <a:gd name="T67" fmla="*/ 1029 h 1043"/>
                <a:gd name="T68" fmla="*/ 474 w 519"/>
                <a:gd name="T69" fmla="*/ 1015 h 1043"/>
                <a:gd name="T70" fmla="*/ 490 w 519"/>
                <a:gd name="T71" fmla="*/ 997 h 1043"/>
                <a:gd name="T72" fmla="*/ 504 w 519"/>
                <a:gd name="T73" fmla="*/ 978 h 1043"/>
                <a:gd name="T74" fmla="*/ 513 w 519"/>
                <a:gd name="T75" fmla="*/ 956 h 1043"/>
                <a:gd name="T76" fmla="*/ 519 w 519"/>
                <a:gd name="T77" fmla="*/ 930 h 1043"/>
                <a:gd name="T78" fmla="*/ 519 w 519"/>
                <a:gd name="T79" fmla="*/ 125 h 1043"/>
                <a:gd name="T80" fmla="*/ 519 w 519"/>
                <a:gd name="T81" fmla="*/ 111 h 1043"/>
                <a:gd name="T82" fmla="*/ 513 w 519"/>
                <a:gd name="T83" fmla="*/ 88 h 1043"/>
                <a:gd name="T84" fmla="*/ 504 w 519"/>
                <a:gd name="T85" fmla="*/ 65 h 1043"/>
                <a:gd name="T86" fmla="*/ 490 w 519"/>
                <a:gd name="T87" fmla="*/ 45 h 1043"/>
                <a:gd name="T88" fmla="*/ 474 w 519"/>
                <a:gd name="T89" fmla="*/ 28 h 1043"/>
                <a:gd name="T90" fmla="*/ 453 w 519"/>
                <a:gd name="T91" fmla="*/ 15 h 1043"/>
                <a:gd name="T92" fmla="*/ 431 w 519"/>
                <a:gd name="T93" fmla="*/ 6 h 1043"/>
                <a:gd name="T94" fmla="*/ 407 w 519"/>
                <a:gd name="T95" fmla="*/ 0 h 1043"/>
                <a:gd name="T96" fmla="*/ 394 w 519"/>
                <a:gd name="T97" fmla="*/ 0 h 10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9" h="1043">
                  <a:moveTo>
                    <a:pt x="394" y="0"/>
                  </a:moveTo>
                  <a:lnTo>
                    <a:pt x="125" y="0"/>
                  </a:lnTo>
                  <a:lnTo>
                    <a:pt x="125" y="0"/>
                  </a:lnTo>
                  <a:lnTo>
                    <a:pt x="113" y="0"/>
                  </a:lnTo>
                  <a:lnTo>
                    <a:pt x="99" y="1"/>
                  </a:lnTo>
                  <a:lnTo>
                    <a:pt x="88" y="6"/>
                  </a:lnTo>
                  <a:lnTo>
                    <a:pt x="77" y="9"/>
                  </a:lnTo>
                  <a:lnTo>
                    <a:pt x="65" y="15"/>
                  </a:lnTo>
                  <a:lnTo>
                    <a:pt x="55" y="21"/>
                  </a:lnTo>
                  <a:lnTo>
                    <a:pt x="46" y="28"/>
                  </a:lnTo>
                  <a:lnTo>
                    <a:pt x="37" y="36"/>
                  </a:lnTo>
                  <a:lnTo>
                    <a:pt x="30" y="45"/>
                  </a:lnTo>
                  <a:lnTo>
                    <a:pt x="22" y="55"/>
                  </a:lnTo>
                  <a:lnTo>
                    <a:pt x="16" y="65"/>
                  </a:lnTo>
                  <a:lnTo>
                    <a:pt x="10" y="76"/>
                  </a:lnTo>
                  <a:lnTo>
                    <a:pt x="6" y="88"/>
                  </a:lnTo>
                  <a:lnTo>
                    <a:pt x="3" y="100"/>
                  </a:lnTo>
                  <a:lnTo>
                    <a:pt x="1" y="111"/>
                  </a:lnTo>
                  <a:lnTo>
                    <a:pt x="0" y="125"/>
                  </a:lnTo>
                  <a:lnTo>
                    <a:pt x="0" y="174"/>
                  </a:lnTo>
                  <a:lnTo>
                    <a:pt x="62" y="174"/>
                  </a:lnTo>
                  <a:lnTo>
                    <a:pt x="62" y="125"/>
                  </a:lnTo>
                  <a:lnTo>
                    <a:pt x="62" y="125"/>
                  </a:lnTo>
                  <a:lnTo>
                    <a:pt x="64" y="111"/>
                  </a:lnTo>
                  <a:lnTo>
                    <a:pt x="68" y="100"/>
                  </a:lnTo>
                  <a:lnTo>
                    <a:pt x="74" y="89"/>
                  </a:lnTo>
                  <a:lnTo>
                    <a:pt x="82" y="80"/>
                  </a:lnTo>
                  <a:lnTo>
                    <a:pt x="91" y="73"/>
                  </a:lnTo>
                  <a:lnTo>
                    <a:pt x="101" y="67"/>
                  </a:lnTo>
                  <a:lnTo>
                    <a:pt x="113" y="64"/>
                  </a:lnTo>
                  <a:lnTo>
                    <a:pt x="125" y="62"/>
                  </a:lnTo>
                  <a:lnTo>
                    <a:pt x="394" y="62"/>
                  </a:lnTo>
                  <a:lnTo>
                    <a:pt x="394" y="62"/>
                  </a:lnTo>
                  <a:lnTo>
                    <a:pt x="407" y="64"/>
                  </a:lnTo>
                  <a:lnTo>
                    <a:pt x="419" y="67"/>
                  </a:lnTo>
                  <a:lnTo>
                    <a:pt x="429" y="73"/>
                  </a:lnTo>
                  <a:lnTo>
                    <a:pt x="438" y="80"/>
                  </a:lnTo>
                  <a:lnTo>
                    <a:pt x="446" y="89"/>
                  </a:lnTo>
                  <a:lnTo>
                    <a:pt x="452" y="100"/>
                  </a:lnTo>
                  <a:lnTo>
                    <a:pt x="455" y="111"/>
                  </a:lnTo>
                  <a:lnTo>
                    <a:pt x="456" y="125"/>
                  </a:lnTo>
                  <a:lnTo>
                    <a:pt x="456" y="919"/>
                  </a:lnTo>
                  <a:lnTo>
                    <a:pt x="456" y="919"/>
                  </a:lnTo>
                  <a:lnTo>
                    <a:pt x="455" y="930"/>
                  </a:lnTo>
                  <a:lnTo>
                    <a:pt x="452" y="942"/>
                  </a:lnTo>
                  <a:lnTo>
                    <a:pt x="446" y="953"/>
                  </a:lnTo>
                  <a:lnTo>
                    <a:pt x="438" y="963"/>
                  </a:lnTo>
                  <a:lnTo>
                    <a:pt x="429" y="971"/>
                  </a:lnTo>
                  <a:lnTo>
                    <a:pt x="419" y="977"/>
                  </a:lnTo>
                  <a:lnTo>
                    <a:pt x="407" y="980"/>
                  </a:lnTo>
                  <a:lnTo>
                    <a:pt x="394" y="981"/>
                  </a:lnTo>
                  <a:lnTo>
                    <a:pt x="18" y="980"/>
                  </a:lnTo>
                  <a:lnTo>
                    <a:pt x="18" y="980"/>
                  </a:lnTo>
                  <a:lnTo>
                    <a:pt x="27" y="994"/>
                  </a:lnTo>
                  <a:lnTo>
                    <a:pt x="37" y="1006"/>
                  </a:lnTo>
                  <a:lnTo>
                    <a:pt x="49" y="1017"/>
                  </a:lnTo>
                  <a:lnTo>
                    <a:pt x="62" y="1026"/>
                  </a:lnTo>
                  <a:lnTo>
                    <a:pt x="77" y="1033"/>
                  </a:lnTo>
                  <a:lnTo>
                    <a:pt x="92" y="1039"/>
                  </a:lnTo>
                  <a:lnTo>
                    <a:pt x="108" y="1042"/>
                  </a:lnTo>
                  <a:lnTo>
                    <a:pt x="125" y="1043"/>
                  </a:lnTo>
                  <a:lnTo>
                    <a:pt x="394" y="1043"/>
                  </a:lnTo>
                  <a:lnTo>
                    <a:pt x="394" y="1043"/>
                  </a:lnTo>
                  <a:lnTo>
                    <a:pt x="407" y="1042"/>
                  </a:lnTo>
                  <a:lnTo>
                    <a:pt x="419" y="1040"/>
                  </a:lnTo>
                  <a:lnTo>
                    <a:pt x="431" y="1037"/>
                  </a:lnTo>
                  <a:lnTo>
                    <a:pt x="443" y="1033"/>
                  </a:lnTo>
                  <a:lnTo>
                    <a:pt x="453" y="1029"/>
                  </a:lnTo>
                  <a:lnTo>
                    <a:pt x="464" y="1021"/>
                  </a:lnTo>
                  <a:lnTo>
                    <a:pt x="474" y="1015"/>
                  </a:lnTo>
                  <a:lnTo>
                    <a:pt x="483" y="1006"/>
                  </a:lnTo>
                  <a:lnTo>
                    <a:pt x="490" y="997"/>
                  </a:lnTo>
                  <a:lnTo>
                    <a:pt x="498" y="988"/>
                  </a:lnTo>
                  <a:lnTo>
                    <a:pt x="504" y="978"/>
                  </a:lnTo>
                  <a:lnTo>
                    <a:pt x="510" y="966"/>
                  </a:lnTo>
                  <a:lnTo>
                    <a:pt x="513" y="956"/>
                  </a:lnTo>
                  <a:lnTo>
                    <a:pt x="516" y="944"/>
                  </a:lnTo>
                  <a:lnTo>
                    <a:pt x="519" y="930"/>
                  </a:lnTo>
                  <a:lnTo>
                    <a:pt x="519" y="919"/>
                  </a:lnTo>
                  <a:lnTo>
                    <a:pt x="519" y="125"/>
                  </a:lnTo>
                  <a:lnTo>
                    <a:pt x="519" y="125"/>
                  </a:lnTo>
                  <a:lnTo>
                    <a:pt x="519" y="111"/>
                  </a:lnTo>
                  <a:lnTo>
                    <a:pt x="516" y="100"/>
                  </a:lnTo>
                  <a:lnTo>
                    <a:pt x="513" y="88"/>
                  </a:lnTo>
                  <a:lnTo>
                    <a:pt x="510" y="76"/>
                  </a:lnTo>
                  <a:lnTo>
                    <a:pt x="504" y="65"/>
                  </a:lnTo>
                  <a:lnTo>
                    <a:pt x="498" y="55"/>
                  </a:lnTo>
                  <a:lnTo>
                    <a:pt x="490" y="45"/>
                  </a:lnTo>
                  <a:lnTo>
                    <a:pt x="483" y="36"/>
                  </a:lnTo>
                  <a:lnTo>
                    <a:pt x="474" y="28"/>
                  </a:lnTo>
                  <a:lnTo>
                    <a:pt x="464" y="21"/>
                  </a:lnTo>
                  <a:lnTo>
                    <a:pt x="453" y="15"/>
                  </a:lnTo>
                  <a:lnTo>
                    <a:pt x="443" y="9"/>
                  </a:lnTo>
                  <a:lnTo>
                    <a:pt x="431" y="6"/>
                  </a:lnTo>
                  <a:lnTo>
                    <a:pt x="419" y="1"/>
                  </a:lnTo>
                  <a:lnTo>
                    <a:pt x="407" y="0"/>
                  </a:lnTo>
                  <a:lnTo>
                    <a:pt x="394" y="0"/>
                  </a:lnTo>
                  <a:lnTo>
                    <a:pt x="39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chemeClr val="bg1"/>
                </a:solidFill>
              </a:endParaRPr>
            </a:p>
          </p:txBody>
        </p:sp>
        <p:sp>
          <p:nvSpPr>
            <p:cNvPr id="28" name="Freeform 177"/>
            <p:cNvSpPr>
              <a:spLocks/>
            </p:cNvSpPr>
            <p:nvPr/>
          </p:nvSpPr>
          <p:spPr bwMode="auto">
            <a:xfrm>
              <a:off x="2780788" y="1064432"/>
              <a:ext cx="76231" cy="20328"/>
            </a:xfrm>
            <a:custGeom>
              <a:avLst/>
              <a:gdLst>
                <a:gd name="T0" fmla="*/ 193 w 224"/>
                <a:gd name="T1" fmla="*/ 62 h 62"/>
                <a:gd name="T2" fmla="*/ 31 w 224"/>
                <a:gd name="T3" fmla="*/ 62 h 62"/>
                <a:gd name="T4" fmla="*/ 31 w 224"/>
                <a:gd name="T5" fmla="*/ 62 h 62"/>
                <a:gd name="T6" fmla="*/ 25 w 224"/>
                <a:gd name="T7" fmla="*/ 62 h 62"/>
                <a:gd name="T8" fmla="*/ 19 w 224"/>
                <a:gd name="T9" fmla="*/ 61 h 62"/>
                <a:gd name="T10" fmla="*/ 15 w 224"/>
                <a:gd name="T11" fmla="*/ 58 h 62"/>
                <a:gd name="T12" fmla="*/ 9 w 224"/>
                <a:gd name="T13" fmla="*/ 53 h 62"/>
                <a:gd name="T14" fmla="*/ 6 w 224"/>
                <a:gd name="T15" fmla="*/ 49 h 62"/>
                <a:gd name="T16" fmla="*/ 3 w 224"/>
                <a:gd name="T17" fmla="*/ 44 h 62"/>
                <a:gd name="T18" fmla="*/ 2 w 224"/>
                <a:gd name="T19" fmla="*/ 38 h 62"/>
                <a:gd name="T20" fmla="*/ 0 w 224"/>
                <a:gd name="T21" fmla="*/ 31 h 62"/>
                <a:gd name="T22" fmla="*/ 0 w 224"/>
                <a:gd name="T23" fmla="*/ 31 h 62"/>
                <a:gd name="T24" fmla="*/ 2 w 224"/>
                <a:gd name="T25" fmla="*/ 25 h 62"/>
                <a:gd name="T26" fmla="*/ 3 w 224"/>
                <a:gd name="T27" fmla="*/ 19 h 62"/>
                <a:gd name="T28" fmla="*/ 6 w 224"/>
                <a:gd name="T29" fmla="*/ 15 h 62"/>
                <a:gd name="T30" fmla="*/ 9 w 224"/>
                <a:gd name="T31" fmla="*/ 10 h 62"/>
                <a:gd name="T32" fmla="*/ 15 w 224"/>
                <a:gd name="T33" fmla="*/ 6 h 62"/>
                <a:gd name="T34" fmla="*/ 19 w 224"/>
                <a:gd name="T35" fmla="*/ 3 h 62"/>
                <a:gd name="T36" fmla="*/ 25 w 224"/>
                <a:gd name="T37" fmla="*/ 1 h 62"/>
                <a:gd name="T38" fmla="*/ 31 w 224"/>
                <a:gd name="T39" fmla="*/ 0 h 62"/>
                <a:gd name="T40" fmla="*/ 193 w 224"/>
                <a:gd name="T41" fmla="*/ 0 h 62"/>
                <a:gd name="T42" fmla="*/ 193 w 224"/>
                <a:gd name="T43" fmla="*/ 0 h 62"/>
                <a:gd name="T44" fmla="*/ 201 w 224"/>
                <a:gd name="T45" fmla="*/ 1 h 62"/>
                <a:gd name="T46" fmla="*/ 205 w 224"/>
                <a:gd name="T47" fmla="*/ 3 h 62"/>
                <a:gd name="T48" fmla="*/ 211 w 224"/>
                <a:gd name="T49" fmla="*/ 6 h 62"/>
                <a:gd name="T50" fmla="*/ 216 w 224"/>
                <a:gd name="T51" fmla="*/ 10 h 62"/>
                <a:gd name="T52" fmla="*/ 220 w 224"/>
                <a:gd name="T53" fmla="*/ 15 h 62"/>
                <a:gd name="T54" fmla="*/ 223 w 224"/>
                <a:gd name="T55" fmla="*/ 19 h 62"/>
                <a:gd name="T56" fmla="*/ 224 w 224"/>
                <a:gd name="T57" fmla="*/ 25 h 62"/>
                <a:gd name="T58" fmla="*/ 224 w 224"/>
                <a:gd name="T59" fmla="*/ 31 h 62"/>
                <a:gd name="T60" fmla="*/ 224 w 224"/>
                <a:gd name="T61" fmla="*/ 31 h 62"/>
                <a:gd name="T62" fmla="*/ 224 w 224"/>
                <a:gd name="T63" fmla="*/ 38 h 62"/>
                <a:gd name="T64" fmla="*/ 223 w 224"/>
                <a:gd name="T65" fmla="*/ 44 h 62"/>
                <a:gd name="T66" fmla="*/ 220 w 224"/>
                <a:gd name="T67" fmla="*/ 49 h 62"/>
                <a:gd name="T68" fmla="*/ 216 w 224"/>
                <a:gd name="T69" fmla="*/ 53 h 62"/>
                <a:gd name="T70" fmla="*/ 211 w 224"/>
                <a:gd name="T71" fmla="*/ 58 h 62"/>
                <a:gd name="T72" fmla="*/ 205 w 224"/>
                <a:gd name="T73" fmla="*/ 61 h 62"/>
                <a:gd name="T74" fmla="*/ 201 w 224"/>
                <a:gd name="T75" fmla="*/ 62 h 62"/>
                <a:gd name="T76" fmla="*/ 193 w 224"/>
                <a:gd name="T77" fmla="*/ 62 h 62"/>
                <a:gd name="T78" fmla="*/ 193 w 224"/>
                <a:gd name="T79"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4" h="62">
                  <a:moveTo>
                    <a:pt x="193" y="62"/>
                  </a:moveTo>
                  <a:lnTo>
                    <a:pt x="31" y="62"/>
                  </a:lnTo>
                  <a:lnTo>
                    <a:pt x="31" y="62"/>
                  </a:lnTo>
                  <a:lnTo>
                    <a:pt x="25" y="62"/>
                  </a:lnTo>
                  <a:lnTo>
                    <a:pt x="19" y="61"/>
                  </a:lnTo>
                  <a:lnTo>
                    <a:pt x="15" y="58"/>
                  </a:lnTo>
                  <a:lnTo>
                    <a:pt x="9" y="53"/>
                  </a:lnTo>
                  <a:lnTo>
                    <a:pt x="6" y="49"/>
                  </a:lnTo>
                  <a:lnTo>
                    <a:pt x="3" y="44"/>
                  </a:lnTo>
                  <a:lnTo>
                    <a:pt x="2" y="38"/>
                  </a:lnTo>
                  <a:lnTo>
                    <a:pt x="0" y="31"/>
                  </a:lnTo>
                  <a:lnTo>
                    <a:pt x="0" y="31"/>
                  </a:lnTo>
                  <a:lnTo>
                    <a:pt x="2" y="25"/>
                  </a:lnTo>
                  <a:lnTo>
                    <a:pt x="3" y="19"/>
                  </a:lnTo>
                  <a:lnTo>
                    <a:pt x="6" y="15"/>
                  </a:lnTo>
                  <a:lnTo>
                    <a:pt x="9" y="10"/>
                  </a:lnTo>
                  <a:lnTo>
                    <a:pt x="15" y="6"/>
                  </a:lnTo>
                  <a:lnTo>
                    <a:pt x="19" y="3"/>
                  </a:lnTo>
                  <a:lnTo>
                    <a:pt x="25" y="1"/>
                  </a:lnTo>
                  <a:lnTo>
                    <a:pt x="31" y="0"/>
                  </a:lnTo>
                  <a:lnTo>
                    <a:pt x="193" y="0"/>
                  </a:lnTo>
                  <a:lnTo>
                    <a:pt x="193" y="0"/>
                  </a:lnTo>
                  <a:lnTo>
                    <a:pt x="201" y="1"/>
                  </a:lnTo>
                  <a:lnTo>
                    <a:pt x="205" y="3"/>
                  </a:lnTo>
                  <a:lnTo>
                    <a:pt x="211" y="6"/>
                  </a:lnTo>
                  <a:lnTo>
                    <a:pt x="216" y="10"/>
                  </a:lnTo>
                  <a:lnTo>
                    <a:pt x="220" y="15"/>
                  </a:lnTo>
                  <a:lnTo>
                    <a:pt x="223" y="19"/>
                  </a:lnTo>
                  <a:lnTo>
                    <a:pt x="224" y="25"/>
                  </a:lnTo>
                  <a:lnTo>
                    <a:pt x="224" y="31"/>
                  </a:lnTo>
                  <a:lnTo>
                    <a:pt x="224" y="31"/>
                  </a:lnTo>
                  <a:lnTo>
                    <a:pt x="224" y="38"/>
                  </a:lnTo>
                  <a:lnTo>
                    <a:pt x="223" y="44"/>
                  </a:lnTo>
                  <a:lnTo>
                    <a:pt x="220" y="49"/>
                  </a:lnTo>
                  <a:lnTo>
                    <a:pt x="216" y="53"/>
                  </a:lnTo>
                  <a:lnTo>
                    <a:pt x="211" y="58"/>
                  </a:lnTo>
                  <a:lnTo>
                    <a:pt x="205" y="61"/>
                  </a:lnTo>
                  <a:lnTo>
                    <a:pt x="201" y="62"/>
                  </a:lnTo>
                  <a:lnTo>
                    <a:pt x="193" y="62"/>
                  </a:lnTo>
                  <a:lnTo>
                    <a:pt x="193"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chemeClr val="bg1"/>
                </a:solidFill>
              </a:endParaRPr>
            </a:p>
          </p:txBody>
        </p:sp>
        <p:sp>
          <p:nvSpPr>
            <p:cNvPr id="29" name="Freeform 178"/>
            <p:cNvSpPr>
              <a:spLocks noEditPoints="1"/>
            </p:cNvSpPr>
            <p:nvPr/>
          </p:nvSpPr>
          <p:spPr bwMode="auto">
            <a:xfrm>
              <a:off x="2467732" y="1102039"/>
              <a:ext cx="320171" cy="224628"/>
            </a:xfrm>
            <a:custGeom>
              <a:avLst/>
              <a:gdLst>
                <a:gd name="T0" fmla="*/ 125 w 947"/>
                <a:gd name="T1" fmla="*/ 0 h 663"/>
                <a:gd name="T2" fmla="*/ 112 w 947"/>
                <a:gd name="T3" fmla="*/ 0 h 663"/>
                <a:gd name="T4" fmla="*/ 88 w 947"/>
                <a:gd name="T5" fmla="*/ 6 h 663"/>
                <a:gd name="T6" fmla="*/ 66 w 947"/>
                <a:gd name="T7" fmla="*/ 15 h 663"/>
                <a:gd name="T8" fmla="*/ 45 w 947"/>
                <a:gd name="T9" fmla="*/ 28 h 663"/>
                <a:gd name="T10" fmla="*/ 29 w 947"/>
                <a:gd name="T11" fmla="*/ 46 h 663"/>
                <a:gd name="T12" fmla="*/ 15 w 947"/>
                <a:gd name="T13" fmla="*/ 66 h 663"/>
                <a:gd name="T14" fmla="*/ 6 w 947"/>
                <a:gd name="T15" fmla="*/ 88 h 663"/>
                <a:gd name="T16" fmla="*/ 0 w 947"/>
                <a:gd name="T17" fmla="*/ 112 h 663"/>
                <a:gd name="T18" fmla="*/ 0 w 947"/>
                <a:gd name="T19" fmla="*/ 538 h 663"/>
                <a:gd name="T20" fmla="*/ 0 w 947"/>
                <a:gd name="T21" fmla="*/ 552 h 663"/>
                <a:gd name="T22" fmla="*/ 6 w 947"/>
                <a:gd name="T23" fmla="*/ 575 h 663"/>
                <a:gd name="T24" fmla="*/ 15 w 947"/>
                <a:gd name="T25" fmla="*/ 598 h 663"/>
                <a:gd name="T26" fmla="*/ 29 w 947"/>
                <a:gd name="T27" fmla="*/ 619 h 663"/>
                <a:gd name="T28" fmla="*/ 45 w 947"/>
                <a:gd name="T29" fmla="*/ 635 h 663"/>
                <a:gd name="T30" fmla="*/ 66 w 947"/>
                <a:gd name="T31" fmla="*/ 648 h 663"/>
                <a:gd name="T32" fmla="*/ 88 w 947"/>
                <a:gd name="T33" fmla="*/ 659 h 663"/>
                <a:gd name="T34" fmla="*/ 112 w 947"/>
                <a:gd name="T35" fmla="*/ 663 h 663"/>
                <a:gd name="T36" fmla="*/ 822 w 947"/>
                <a:gd name="T37" fmla="*/ 663 h 663"/>
                <a:gd name="T38" fmla="*/ 836 w 947"/>
                <a:gd name="T39" fmla="*/ 663 h 663"/>
                <a:gd name="T40" fmla="*/ 860 w 947"/>
                <a:gd name="T41" fmla="*/ 659 h 663"/>
                <a:gd name="T42" fmla="*/ 882 w 947"/>
                <a:gd name="T43" fmla="*/ 648 h 663"/>
                <a:gd name="T44" fmla="*/ 901 w 947"/>
                <a:gd name="T45" fmla="*/ 635 h 663"/>
                <a:gd name="T46" fmla="*/ 919 w 947"/>
                <a:gd name="T47" fmla="*/ 619 h 663"/>
                <a:gd name="T48" fmla="*/ 932 w 947"/>
                <a:gd name="T49" fmla="*/ 598 h 663"/>
                <a:gd name="T50" fmla="*/ 941 w 947"/>
                <a:gd name="T51" fmla="*/ 575 h 663"/>
                <a:gd name="T52" fmla="*/ 947 w 947"/>
                <a:gd name="T53" fmla="*/ 552 h 663"/>
                <a:gd name="T54" fmla="*/ 947 w 947"/>
                <a:gd name="T55" fmla="*/ 125 h 663"/>
                <a:gd name="T56" fmla="*/ 947 w 947"/>
                <a:gd name="T57" fmla="*/ 112 h 663"/>
                <a:gd name="T58" fmla="*/ 941 w 947"/>
                <a:gd name="T59" fmla="*/ 88 h 663"/>
                <a:gd name="T60" fmla="*/ 932 w 947"/>
                <a:gd name="T61" fmla="*/ 66 h 663"/>
                <a:gd name="T62" fmla="*/ 919 w 947"/>
                <a:gd name="T63" fmla="*/ 46 h 663"/>
                <a:gd name="T64" fmla="*/ 901 w 947"/>
                <a:gd name="T65" fmla="*/ 28 h 663"/>
                <a:gd name="T66" fmla="*/ 882 w 947"/>
                <a:gd name="T67" fmla="*/ 15 h 663"/>
                <a:gd name="T68" fmla="*/ 860 w 947"/>
                <a:gd name="T69" fmla="*/ 6 h 663"/>
                <a:gd name="T70" fmla="*/ 836 w 947"/>
                <a:gd name="T71" fmla="*/ 0 h 663"/>
                <a:gd name="T72" fmla="*/ 822 w 947"/>
                <a:gd name="T73" fmla="*/ 0 h 663"/>
                <a:gd name="T74" fmla="*/ 885 w 947"/>
                <a:gd name="T75" fmla="*/ 538 h 663"/>
                <a:gd name="T76" fmla="*/ 880 w 947"/>
                <a:gd name="T77" fmla="*/ 564 h 663"/>
                <a:gd name="T78" fmla="*/ 867 w 947"/>
                <a:gd name="T79" fmla="*/ 583 h 663"/>
                <a:gd name="T80" fmla="*/ 846 w 947"/>
                <a:gd name="T81" fmla="*/ 596 h 663"/>
                <a:gd name="T82" fmla="*/ 822 w 947"/>
                <a:gd name="T83" fmla="*/ 601 h 663"/>
                <a:gd name="T84" fmla="*/ 125 w 947"/>
                <a:gd name="T85" fmla="*/ 601 h 663"/>
                <a:gd name="T86" fmla="*/ 100 w 947"/>
                <a:gd name="T87" fmla="*/ 596 h 663"/>
                <a:gd name="T88" fmla="*/ 81 w 947"/>
                <a:gd name="T89" fmla="*/ 583 h 663"/>
                <a:gd name="T90" fmla="*/ 67 w 947"/>
                <a:gd name="T91" fmla="*/ 564 h 663"/>
                <a:gd name="T92" fmla="*/ 63 w 947"/>
                <a:gd name="T93" fmla="*/ 538 h 663"/>
                <a:gd name="T94" fmla="*/ 63 w 947"/>
                <a:gd name="T95" fmla="*/ 125 h 663"/>
                <a:gd name="T96" fmla="*/ 67 w 947"/>
                <a:gd name="T97" fmla="*/ 101 h 663"/>
                <a:gd name="T98" fmla="*/ 81 w 947"/>
                <a:gd name="T99" fmla="*/ 80 h 663"/>
                <a:gd name="T100" fmla="*/ 100 w 947"/>
                <a:gd name="T101" fmla="*/ 67 h 663"/>
                <a:gd name="T102" fmla="*/ 125 w 947"/>
                <a:gd name="T103" fmla="*/ 63 h 663"/>
                <a:gd name="T104" fmla="*/ 822 w 947"/>
                <a:gd name="T105" fmla="*/ 63 h 663"/>
                <a:gd name="T106" fmla="*/ 846 w 947"/>
                <a:gd name="T107" fmla="*/ 67 h 663"/>
                <a:gd name="T108" fmla="*/ 867 w 947"/>
                <a:gd name="T109" fmla="*/ 80 h 663"/>
                <a:gd name="T110" fmla="*/ 880 w 947"/>
                <a:gd name="T111" fmla="*/ 101 h 663"/>
                <a:gd name="T112" fmla="*/ 885 w 947"/>
                <a:gd name="T113" fmla="*/ 125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7" h="663">
                  <a:moveTo>
                    <a:pt x="822" y="0"/>
                  </a:moveTo>
                  <a:lnTo>
                    <a:pt x="125" y="0"/>
                  </a:lnTo>
                  <a:lnTo>
                    <a:pt x="125" y="0"/>
                  </a:lnTo>
                  <a:lnTo>
                    <a:pt x="112" y="0"/>
                  </a:lnTo>
                  <a:lnTo>
                    <a:pt x="100" y="3"/>
                  </a:lnTo>
                  <a:lnTo>
                    <a:pt x="88" y="6"/>
                  </a:lnTo>
                  <a:lnTo>
                    <a:pt x="76" y="11"/>
                  </a:lnTo>
                  <a:lnTo>
                    <a:pt x="66" y="15"/>
                  </a:lnTo>
                  <a:lnTo>
                    <a:pt x="55" y="21"/>
                  </a:lnTo>
                  <a:lnTo>
                    <a:pt x="45" y="28"/>
                  </a:lnTo>
                  <a:lnTo>
                    <a:pt x="36" y="37"/>
                  </a:lnTo>
                  <a:lnTo>
                    <a:pt x="29" y="46"/>
                  </a:lnTo>
                  <a:lnTo>
                    <a:pt x="21" y="55"/>
                  </a:lnTo>
                  <a:lnTo>
                    <a:pt x="15" y="66"/>
                  </a:lnTo>
                  <a:lnTo>
                    <a:pt x="9" y="76"/>
                  </a:lnTo>
                  <a:lnTo>
                    <a:pt x="6" y="88"/>
                  </a:lnTo>
                  <a:lnTo>
                    <a:pt x="3" y="100"/>
                  </a:lnTo>
                  <a:lnTo>
                    <a:pt x="0" y="112"/>
                  </a:lnTo>
                  <a:lnTo>
                    <a:pt x="0" y="125"/>
                  </a:lnTo>
                  <a:lnTo>
                    <a:pt x="0" y="538"/>
                  </a:lnTo>
                  <a:lnTo>
                    <a:pt x="0" y="538"/>
                  </a:lnTo>
                  <a:lnTo>
                    <a:pt x="0" y="552"/>
                  </a:lnTo>
                  <a:lnTo>
                    <a:pt x="3" y="564"/>
                  </a:lnTo>
                  <a:lnTo>
                    <a:pt x="6" y="575"/>
                  </a:lnTo>
                  <a:lnTo>
                    <a:pt x="9" y="587"/>
                  </a:lnTo>
                  <a:lnTo>
                    <a:pt x="15" y="598"/>
                  </a:lnTo>
                  <a:lnTo>
                    <a:pt x="21" y="608"/>
                  </a:lnTo>
                  <a:lnTo>
                    <a:pt x="29" y="619"/>
                  </a:lnTo>
                  <a:lnTo>
                    <a:pt x="36" y="627"/>
                  </a:lnTo>
                  <a:lnTo>
                    <a:pt x="45" y="635"/>
                  </a:lnTo>
                  <a:lnTo>
                    <a:pt x="55" y="642"/>
                  </a:lnTo>
                  <a:lnTo>
                    <a:pt x="66" y="648"/>
                  </a:lnTo>
                  <a:lnTo>
                    <a:pt x="76" y="654"/>
                  </a:lnTo>
                  <a:lnTo>
                    <a:pt x="88" y="659"/>
                  </a:lnTo>
                  <a:lnTo>
                    <a:pt x="100" y="662"/>
                  </a:lnTo>
                  <a:lnTo>
                    <a:pt x="112" y="663"/>
                  </a:lnTo>
                  <a:lnTo>
                    <a:pt x="125" y="663"/>
                  </a:lnTo>
                  <a:lnTo>
                    <a:pt x="822" y="663"/>
                  </a:lnTo>
                  <a:lnTo>
                    <a:pt x="822" y="663"/>
                  </a:lnTo>
                  <a:lnTo>
                    <a:pt x="836" y="663"/>
                  </a:lnTo>
                  <a:lnTo>
                    <a:pt x="848" y="662"/>
                  </a:lnTo>
                  <a:lnTo>
                    <a:pt x="860" y="659"/>
                  </a:lnTo>
                  <a:lnTo>
                    <a:pt x="872" y="654"/>
                  </a:lnTo>
                  <a:lnTo>
                    <a:pt x="882" y="648"/>
                  </a:lnTo>
                  <a:lnTo>
                    <a:pt x="892" y="642"/>
                  </a:lnTo>
                  <a:lnTo>
                    <a:pt x="901" y="635"/>
                  </a:lnTo>
                  <a:lnTo>
                    <a:pt x="910" y="627"/>
                  </a:lnTo>
                  <a:lnTo>
                    <a:pt x="919" y="619"/>
                  </a:lnTo>
                  <a:lnTo>
                    <a:pt x="927" y="608"/>
                  </a:lnTo>
                  <a:lnTo>
                    <a:pt x="932" y="598"/>
                  </a:lnTo>
                  <a:lnTo>
                    <a:pt x="937" y="587"/>
                  </a:lnTo>
                  <a:lnTo>
                    <a:pt x="941" y="575"/>
                  </a:lnTo>
                  <a:lnTo>
                    <a:pt x="944" y="564"/>
                  </a:lnTo>
                  <a:lnTo>
                    <a:pt x="947" y="552"/>
                  </a:lnTo>
                  <a:lnTo>
                    <a:pt x="947" y="538"/>
                  </a:lnTo>
                  <a:lnTo>
                    <a:pt x="947" y="125"/>
                  </a:lnTo>
                  <a:lnTo>
                    <a:pt x="947" y="125"/>
                  </a:lnTo>
                  <a:lnTo>
                    <a:pt x="947" y="112"/>
                  </a:lnTo>
                  <a:lnTo>
                    <a:pt x="944" y="100"/>
                  </a:lnTo>
                  <a:lnTo>
                    <a:pt x="941" y="88"/>
                  </a:lnTo>
                  <a:lnTo>
                    <a:pt x="937" y="76"/>
                  </a:lnTo>
                  <a:lnTo>
                    <a:pt x="932" y="66"/>
                  </a:lnTo>
                  <a:lnTo>
                    <a:pt x="927" y="55"/>
                  </a:lnTo>
                  <a:lnTo>
                    <a:pt x="919" y="46"/>
                  </a:lnTo>
                  <a:lnTo>
                    <a:pt x="910" y="37"/>
                  </a:lnTo>
                  <a:lnTo>
                    <a:pt x="901" y="28"/>
                  </a:lnTo>
                  <a:lnTo>
                    <a:pt x="892" y="21"/>
                  </a:lnTo>
                  <a:lnTo>
                    <a:pt x="882" y="15"/>
                  </a:lnTo>
                  <a:lnTo>
                    <a:pt x="872" y="11"/>
                  </a:lnTo>
                  <a:lnTo>
                    <a:pt x="860" y="6"/>
                  </a:lnTo>
                  <a:lnTo>
                    <a:pt x="848" y="3"/>
                  </a:lnTo>
                  <a:lnTo>
                    <a:pt x="836" y="0"/>
                  </a:lnTo>
                  <a:lnTo>
                    <a:pt x="822" y="0"/>
                  </a:lnTo>
                  <a:lnTo>
                    <a:pt x="822" y="0"/>
                  </a:lnTo>
                  <a:close/>
                  <a:moveTo>
                    <a:pt x="885" y="538"/>
                  </a:moveTo>
                  <a:lnTo>
                    <a:pt x="885" y="538"/>
                  </a:lnTo>
                  <a:lnTo>
                    <a:pt x="883" y="552"/>
                  </a:lnTo>
                  <a:lnTo>
                    <a:pt x="880" y="564"/>
                  </a:lnTo>
                  <a:lnTo>
                    <a:pt x="874" y="574"/>
                  </a:lnTo>
                  <a:lnTo>
                    <a:pt x="867" y="583"/>
                  </a:lnTo>
                  <a:lnTo>
                    <a:pt x="857" y="590"/>
                  </a:lnTo>
                  <a:lnTo>
                    <a:pt x="846" y="596"/>
                  </a:lnTo>
                  <a:lnTo>
                    <a:pt x="834" y="599"/>
                  </a:lnTo>
                  <a:lnTo>
                    <a:pt x="822" y="601"/>
                  </a:lnTo>
                  <a:lnTo>
                    <a:pt x="125" y="601"/>
                  </a:lnTo>
                  <a:lnTo>
                    <a:pt x="125" y="601"/>
                  </a:lnTo>
                  <a:lnTo>
                    <a:pt x="112" y="599"/>
                  </a:lnTo>
                  <a:lnTo>
                    <a:pt x="100" y="596"/>
                  </a:lnTo>
                  <a:lnTo>
                    <a:pt x="90" y="590"/>
                  </a:lnTo>
                  <a:lnTo>
                    <a:pt x="81" y="583"/>
                  </a:lnTo>
                  <a:lnTo>
                    <a:pt x="73" y="574"/>
                  </a:lnTo>
                  <a:lnTo>
                    <a:pt x="67" y="564"/>
                  </a:lnTo>
                  <a:lnTo>
                    <a:pt x="64" y="552"/>
                  </a:lnTo>
                  <a:lnTo>
                    <a:pt x="63" y="538"/>
                  </a:lnTo>
                  <a:lnTo>
                    <a:pt x="63" y="125"/>
                  </a:lnTo>
                  <a:lnTo>
                    <a:pt x="63" y="125"/>
                  </a:lnTo>
                  <a:lnTo>
                    <a:pt x="64" y="113"/>
                  </a:lnTo>
                  <a:lnTo>
                    <a:pt x="67" y="101"/>
                  </a:lnTo>
                  <a:lnTo>
                    <a:pt x="73" y="91"/>
                  </a:lnTo>
                  <a:lnTo>
                    <a:pt x="81" y="80"/>
                  </a:lnTo>
                  <a:lnTo>
                    <a:pt x="90" y="73"/>
                  </a:lnTo>
                  <a:lnTo>
                    <a:pt x="100" y="67"/>
                  </a:lnTo>
                  <a:lnTo>
                    <a:pt x="112" y="64"/>
                  </a:lnTo>
                  <a:lnTo>
                    <a:pt x="125" y="63"/>
                  </a:lnTo>
                  <a:lnTo>
                    <a:pt x="822" y="63"/>
                  </a:lnTo>
                  <a:lnTo>
                    <a:pt x="822" y="63"/>
                  </a:lnTo>
                  <a:lnTo>
                    <a:pt x="834" y="64"/>
                  </a:lnTo>
                  <a:lnTo>
                    <a:pt x="846" y="67"/>
                  </a:lnTo>
                  <a:lnTo>
                    <a:pt x="857" y="73"/>
                  </a:lnTo>
                  <a:lnTo>
                    <a:pt x="867" y="80"/>
                  </a:lnTo>
                  <a:lnTo>
                    <a:pt x="874" y="91"/>
                  </a:lnTo>
                  <a:lnTo>
                    <a:pt x="880" y="101"/>
                  </a:lnTo>
                  <a:lnTo>
                    <a:pt x="883" y="113"/>
                  </a:lnTo>
                  <a:lnTo>
                    <a:pt x="885" y="125"/>
                  </a:lnTo>
                  <a:lnTo>
                    <a:pt x="885" y="5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chemeClr val="bg1"/>
                </a:solidFill>
              </a:endParaRPr>
            </a:p>
          </p:txBody>
        </p:sp>
      </p:grpSp>
      <p:sp>
        <p:nvSpPr>
          <p:cNvPr id="37" name="Digital list"/>
          <p:cNvSpPr/>
          <p:nvPr/>
        </p:nvSpPr>
        <p:spPr>
          <a:xfrm>
            <a:off x="7241601" y="2637501"/>
            <a:ext cx="1398062" cy="290849"/>
          </a:xfrm>
          <a:prstGeom prst="rect">
            <a:avLst/>
          </a:prstGeom>
          <a:noFill/>
          <a:ln>
            <a:noFill/>
          </a:ln>
        </p:spPr>
        <p:txBody>
          <a:bodyPr wrap="square" lIns="89154" tIns="68580" rIns="68580" bIns="68580">
            <a:spAutoFit/>
          </a:bodyPr>
          <a:lstStyle/>
          <a:p>
            <a:pPr algn="ctr" defTabSz="914340">
              <a:lnSpc>
                <a:spcPct val="90000"/>
              </a:lnSpc>
              <a:defRPr/>
            </a:pPr>
            <a:r>
              <a:rPr lang="en-US" sz="1100" kern="0" spc="50" dirty="0">
                <a:solidFill>
                  <a:schemeClr val="bg1"/>
                </a:solidFill>
                <a:latin typeface="Arial"/>
                <a:ea typeface="Apex New Light" pitchFamily="50" charset="0"/>
                <a:cs typeface="TradeGothic Bold"/>
              </a:rPr>
              <a:t>REST APIs</a:t>
            </a:r>
          </a:p>
        </p:txBody>
      </p:sp>
      <p:grpSp>
        <p:nvGrpSpPr>
          <p:cNvPr id="30" name="Group 29"/>
          <p:cNvGrpSpPr/>
          <p:nvPr/>
        </p:nvGrpSpPr>
        <p:grpSpPr>
          <a:xfrm>
            <a:off x="7693478" y="2160915"/>
            <a:ext cx="490306" cy="392484"/>
            <a:chOff x="5215104" y="1060366"/>
            <a:chExt cx="417747" cy="334401"/>
          </a:xfrm>
          <a:solidFill>
            <a:schemeClr val="bg1"/>
          </a:solidFill>
        </p:grpSpPr>
        <p:sp>
          <p:nvSpPr>
            <p:cNvPr id="31" name="Freeform 183"/>
            <p:cNvSpPr>
              <a:spLocks noEditPoints="1"/>
            </p:cNvSpPr>
            <p:nvPr/>
          </p:nvSpPr>
          <p:spPr bwMode="auto">
            <a:xfrm>
              <a:off x="5330975" y="1101023"/>
              <a:ext cx="58952" cy="58952"/>
            </a:xfrm>
            <a:custGeom>
              <a:avLst/>
              <a:gdLst>
                <a:gd name="T0" fmla="*/ 174 w 174"/>
                <a:gd name="T1" fmla="*/ 174 h 174"/>
                <a:gd name="T2" fmla="*/ 0 w 174"/>
                <a:gd name="T3" fmla="*/ 174 h 174"/>
                <a:gd name="T4" fmla="*/ 0 w 174"/>
                <a:gd name="T5" fmla="*/ 0 h 174"/>
                <a:gd name="T6" fmla="*/ 174 w 174"/>
                <a:gd name="T7" fmla="*/ 0 h 174"/>
                <a:gd name="T8" fmla="*/ 174 w 174"/>
                <a:gd name="T9" fmla="*/ 174 h 174"/>
                <a:gd name="T10" fmla="*/ 53 w 174"/>
                <a:gd name="T11" fmla="*/ 121 h 174"/>
                <a:gd name="T12" fmla="*/ 120 w 174"/>
                <a:gd name="T13" fmla="*/ 121 h 174"/>
                <a:gd name="T14" fmla="*/ 120 w 174"/>
                <a:gd name="T15" fmla="*/ 54 h 174"/>
                <a:gd name="T16" fmla="*/ 53 w 174"/>
                <a:gd name="T17" fmla="*/ 54 h 174"/>
                <a:gd name="T18" fmla="*/ 53 w 174"/>
                <a:gd name="T19" fmla="*/ 121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4" h="174">
                  <a:moveTo>
                    <a:pt x="174" y="174"/>
                  </a:moveTo>
                  <a:lnTo>
                    <a:pt x="0" y="174"/>
                  </a:lnTo>
                  <a:lnTo>
                    <a:pt x="0" y="0"/>
                  </a:lnTo>
                  <a:lnTo>
                    <a:pt x="174" y="0"/>
                  </a:lnTo>
                  <a:lnTo>
                    <a:pt x="174" y="174"/>
                  </a:lnTo>
                  <a:close/>
                  <a:moveTo>
                    <a:pt x="53" y="121"/>
                  </a:moveTo>
                  <a:lnTo>
                    <a:pt x="120" y="121"/>
                  </a:lnTo>
                  <a:lnTo>
                    <a:pt x="120" y="54"/>
                  </a:lnTo>
                  <a:lnTo>
                    <a:pt x="53" y="54"/>
                  </a:lnTo>
                  <a:lnTo>
                    <a:pt x="53"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chemeClr val="bg1"/>
                </a:solidFill>
              </a:endParaRPr>
            </a:p>
          </p:txBody>
        </p:sp>
        <p:sp>
          <p:nvSpPr>
            <p:cNvPr id="32" name="Freeform 184"/>
            <p:cNvSpPr>
              <a:spLocks noEditPoints="1"/>
            </p:cNvSpPr>
            <p:nvPr/>
          </p:nvSpPr>
          <p:spPr bwMode="auto">
            <a:xfrm>
              <a:off x="5330975" y="1175221"/>
              <a:ext cx="58952" cy="59969"/>
            </a:xfrm>
            <a:custGeom>
              <a:avLst/>
              <a:gdLst>
                <a:gd name="T0" fmla="*/ 174 w 174"/>
                <a:gd name="T1" fmla="*/ 176 h 176"/>
                <a:gd name="T2" fmla="*/ 0 w 174"/>
                <a:gd name="T3" fmla="*/ 176 h 176"/>
                <a:gd name="T4" fmla="*/ 0 w 174"/>
                <a:gd name="T5" fmla="*/ 0 h 176"/>
                <a:gd name="T6" fmla="*/ 174 w 174"/>
                <a:gd name="T7" fmla="*/ 0 h 176"/>
                <a:gd name="T8" fmla="*/ 174 w 174"/>
                <a:gd name="T9" fmla="*/ 176 h 176"/>
                <a:gd name="T10" fmla="*/ 54 w 174"/>
                <a:gd name="T11" fmla="*/ 122 h 176"/>
                <a:gd name="T12" fmla="*/ 120 w 174"/>
                <a:gd name="T13" fmla="*/ 122 h 176"/>
                <a:gd name="T14" fmla="*/ 120 w 174"/>
                <a:gd name="T15" fmla="*/ 54 h 176"/>
                <a:gd name="T16" fmla="*/ 54 w 174"/>
                <a:gd name="T17" fmla="*/ 54 h 176"/>
                <a:gd name="T18" fmla="*/ 54 w 174"/>
                <a:gd name="T19" fmla="*/ 12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4" h="176">
                  <a:moveTo>
                    <a:pt x="174" y="176"/>
                  </a:moveTo>
                  <a:lnTo>
                    <a:pt x="0" y="176"/>
                  </a:lnTo>
                  <a:lnTo>
                    <a:pt x="0" y="0"/>
                  </a:lnTo>
                  <a:lnTo>
                    <a:pt x="174" y="0"/>
                  </a:lnTo>
                  <a:lnTo>
                    <a:pt x="174" y="176"/>
                  </a:lnTo>
                  <a:close/>
                  <a:moveTo>
                    <a:pt x="54" y="122"/>
                  </a:moveTo>
                  <a:lnTo>
                    <a:pt x="120" y="122"/>
                  </a:lnTo>
                  <a:lnTo>
                    <a:pt x="120" y="54"/>
                  </a:lnTo>
                  <a:lnTo>
                    <a:pt x="54" y="54"/>
                  </a:lnTo>
                  <a:lnTo>
                    <a:pt x="54" y="1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chemeClr val="bg1"/>
                </a:solidFill>
              </a:endParaRPr>
            </a:p>
          </p:txBody>
        </p:sp>
        <p:sp>
          <p:nvSpPr>
            <p:cNvPr id="33" name="Freeform 185"/>
            <p:cNvSpPr>
              <a:spLocks noEditPoints="1"/>
            </p:cNvSpPr>
            <p:nvPr/>
          </p:nvSpPr>
          <p:spPr bwMode="auto">
            <a:xfrm>
              <a:off x="5408223" y="1101023"/>
              <a:ext cx="58952" cy="58952"/>
            </a:xfrm>
            <a:custGeom>
              <a:avLst/>
              <a:gdLst>
                <a:gd name="T0" fmla="*/ 175 w 175"/>
                <a:gd name="T1" fmla="*/ 174 h 174"/>
                <a:gd name="T2" fmla="*/ 0 w 175"/>
                <a:gd name="T3" fmla="*/ 174 h 174"/>
                <a:gd name="T4" fmla="*/ 0 w 175"/>
                <a:gd name="T5" fmla="*/ 0 h 174"/>
                <a:gd name="T6" fmla="*/ 175 w 175"/>
                <a:gd name="T7" fmla="*/ 0 h 174"/>
                <a:gd name="T8" fmla="*/ 175 w 175"/>
                <a:gd name="T9" fmla="*/ 174 h 174"/>
                <a:gd name="T10" fmla="*/ 54 w 175"/>
                <a:gd name="T11" fmla="*/ 121 h 174"/>
                <a:gd name="T12" fmla="*/ 122 w 175"/>
                <a:gd name="T13" fmla="*/ 121 h 174"/>
                <a:gd name="T14" fmla="*/ 122 w 175"/>
                <a:gd name="T15" fmla="*/ 54 h 174"/>
                <a:gd name="T16" fmla="*/ 54 w 175"/>
                <a:gd name="T17" fmla="*/ 54 h 174"/>
                <a:gd name="T18" fmla="*/ 54 w 175"/>
                <a:gd name="T19" fmla="*/ 121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5" h="174">
                  <a:moveTo>
                    <a:pt x="175" y="174"/>
                  </a:moveTo>
                  <a:lnTo>
                    <a:pt x="0" y="174"/>
                  </a:lnTo>
                  <a:lnTo>
                    <a:pt x="0" y="0"/>
                  </a:lnTo>
                  <a:lnTo>
                    <a:pt x="175" y="0"/>
                  </a:lnTo>
                  <a:lnTo>
                    <a:pt x="175" y="174"/>
                  </a:lnTo>
                  <a:close/>
                  <a:moveTo>
                    <a:pt x="54" y="121"/>
                  </a:moveTo>
                  <a:lnTo>
                    <a:pt x="122" y="121"/>
                  </a:lnTo>
                  <a:lnTo>
                    <a:pt x="122" y="54"/>
                  </a:lnTo>
                  <a:lnTo>
                    <a:pt x="54" y="54"/>
                  </a:lnTo>
                  <a:lnTo>
                    <a:pt x="54"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chemeClr val="bg1"/>
                </a:solidFill>
              </a:endParaRPr>
            </a:p>
          </p:txBody>
        </p:sp>
        <p:sp>
          <p:nvSpPr>
            <p:cNvPr id="34" name="Freeform 186"/>
            <p:cNvSpPr>
              <a:spLocks/>
            </p:cNvSpPr>
            <p:nvPr/>
          </p:nvSpPr>
          <p:spPr bwMode="auto">
            <a:xfrm>
              <a:off x="5484454" y="1101023"/>
              <a:ext cx="58952" cy="48788"/>
            </a:xfrm>
            <a:custGeom>
              <a:avLst/>
              <a:gdLst>
                <a:gd name="T0" fmla="*/ 54 w 174"/>
                <a:gd name="T1" fmla="*/ 54 h 146"/>
                <a:gd name="T2" fmla="*/ 120 w 174"/>
                <a:gd name="T3" fmla="*/ 54 h 146"/>
                <a:gd name="T4" fmla="*/ 120 w 174"/>
                <a:gd name="T5" fmla="*/ 115 h 146"/>
                <a:gd name="T6" fmla="*/ 120 w 174"/>
                <a:gd name="T7" fmla="*/ 115 h 146"/>
                <a:gd name="T8" fmla="*/ 135 w 174"/>
                <a:gd name="T9" fmla="*/ 121 h 146"/>
                <a:gd name="T10" fmla="*/ 150 w 174"/>
                <a:gd name="T11" fmla="*/ 128 h 146"/>
                <a:gd name="T12" fmla="*/ 162 w 174"/>
                <a:gd name="T13" fmla="*/ 135 h 146"/>
                <a:gd name="T14" fmla="*/ 174 w 174"/>
                <a:gd name="T15" fmla="*/ 146 h 146"/>
                <a:gd name="T16" fmla="*/ 174 w 174"/>
                <a:gd name="T17" fmla="*/ 0 h 146"/>
                <a:gd name="T18" fmla="*/ 0 w 174"/>
                <a:gd name="T19" fmla="*/ 0 h 146"/>
                <a:gd name="T20" fmla="*/ 0 w 174"/>
                <a:gd name="T21" fmla="*/ 133 h 146"/>
                <a:gd name="T22" fmla="*/ 0 w 174"/>
                <a:gd name="T23" fmla="*/ 133 h 146"/>
                <a:gd name="T24" fmla="*/ 12 w 174"/>
                <a:gd name="T25" fmla="*/ 125 h 146"/>
                <a:gd name="T26" fmla="*/ 25 w 174"/>
                <a:gd name="T27" fmla="*/ 119 h 146"/>
                <a:gd name="T28" fmla="*/ 39 w 174"/>
                <a:gd name="T29" fmla="*/ 115 h 146"/>
                <a:gd name="T30" fmla="*/ 54 w 174"/>
                <a:gd name="T31" fmla="*/ 112 h 146"/>
                <a:gd name="T32" fmla="*/ 54 w 174"/>
                <a:gd name="T33" fmla="*/ 5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4" h="146">
                  <a:moveTo>
                    <a:pt x="54" y="54"/>
                  </a:moveTo>
                  <a:lnTo>
                    <a:pt x="120" y="54"/>
                  </a:lnTo>
                  <a:lnTo>
                    <a:pt x="120" y="115"/>
                  </a:lnTo>
                  <a:lnTo>
                    <a:pt x="120" y="115"/>
                  </a:lnTo>
                  <a:lnTo>
                    <a:pt x="135" y="121"/>
                  </a:lnTo>
                  <a:lnTo>
                    <a:pt x="150" y="128"/>
                  </a:lnTo>
                  <a:lnTo>
                    <a:pt x="162" y="135"/>
                  </a:lnTo>
                  <a:lnTo>
                    <a:pt x="174" y="146"/>
                  </a:lnTo>
                  <a:lnTo>
                    <a:pt x="174" y="0"/>
                  </a:lnTo>
                  <a:lnTo>
                    <a:pt x="0" y="0"/>
                  </a:lnTo>
                  <a:lnTo>
                    <a:pt x="0" y="133"/>
                  </a:lnTo>
                  <a:lnTo>
                    <a:pt x="0" y="133"/>
                  </a:lnTo>
                  <a:lnTo>
                    <a:pt x="12" y="125"/>
                  </a:lnTo>
                  <a:lnTo>
                    <a:pt x="25" y="119"/>
                  </a:lnTo>
                  <a:lnTo>
                    <a:pt x="39" y="115"/>
                  </a:lnTo>
                  <a:lnTo>
                    <a:pt x="54" y="112"/>
                  </a:lnTo>
                  <a:lnTo>
                    <a:pt x="54"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chemeClr val="bg1"/>
                </a:solidFill>
              </a:endParaRPr>
            </a:p>
          </p:txBody>
        </p:sp>
        <p:sp>
          <p:nvSpPr>
            <p:cNvPr id="35" name="Freeform 187"/>
            <p:cNvSpPr>
              <a:spLocks/>
            </p:cNvSpPr>
            <p:nvPr/>
          </p:nvSpPr>
          <p:spPr bwMode="auto">
            <a:xfrm>
              <a:off x="5249662" y="1185385"/>
              <a:ext cx="25410" cy="25410"/>
            </a:xfrm>
            <a:custGeom>
              <a:avLst/>
              <a:gdLst>
                <a:gd name="T0" fmla="*/ 37 w 75"/>
                <a:gd name="T1" fmla="*/ 0 h 75"/>
                <a:gd name="T2" fmla="*/ 37 w 75"/>
                <a:gd name="T3" fmla="*/ 0 h 75"/>
                <a:gd name="T4" fmla="*/ 30 w 75"/>
                <a:gd name="T5" fmla="*/ 0 h 75"/>
                <a:gd name="T6" fmla="*/ 23 w 75"/>
                <a:gd name="T7" fmla="*/ 3 h 75"/>
                <a:gd name="T8" fmla="*/ 17 w 75"/>
                <a:gd name="T9" fmla="*/ 6 h 75"/>
                <a:gd name="T10" fmla="*/ 11 w 75"/>
                <a:gd name="T11" fmla="*/ 11 h 75"/>
                <a:gd name="T12" fmla="*/ 6 w 75"/>
                <a:gd name="T13" fmla="*/ 17 h 75"/>
                <a:gd name="T14" fmla="*/ 3 w 75"/>
                <a:gd name="T15" fmla="*/ 23 h 75"/>
                <a:gd name="T16" fmla="*/ 0 w 75"/>
                <a:gd name="T17" fmla="*/ 30 h 75"/>
                <a:gd name="T18" fmla="*/ 0 w 75"/>
                <a:gd name="T19" fmla="*/ 38 h 75"/>
                <a:gd name="T20" fmla="*/ 0 w 75"/>
                <a:gd name="T21" fmla="*/ 38 h 75"/>
                <a:gd name="T22" fmla="*/ 0 w 75"/>
                <a:gd name="T23" fmla="*/ 45 h 75"/>
                <a:gd name="T24" fmla="*/ 3 w 75"/>
                <a:gd name="T25" fmla="*/ 52 h 75"/>
                <a:gd name="T26" fmla="*/ 6 w 75"/>
                <a:gd name="T27" fmla="*/ 58 h 75"/>
                <a:gd name="T28" fmla="*/ 11 w 75"/>
                <a:gd name="T29" fmla="*/ 64 h 75"/>
                <a:gd name="T30" fmla="*/ 17 w 75"/>
                <a:gd name="T31" fmla="*/ 69 h 75"/>
                <a:gd name="T32" fmla="*/ 23 w 75"/>
                <a:gd name="T33" fmla="*/ 72 h 75"/>
                <a:gd name="T34" fmla="*/ 30 w 75"/>
                <a:gd name="T35" fmla="*/ 75 h 75"/>
                <a:gd name="T36" fmla="*/ 37 w 75"/>
                <a:gd name="T37" fmla="*/ 75 h 75"/>
                <a:gd name="T38" fmla="*/ 37 w 75"/>
                <a:gd name="T39" fmla="*/ 75 h 75"/>
                <a:gd name="T40" fmla="*/ 45 w 75"/>
                <a:gd name="T41" fmla="*/ 75 h 75"/>
                <a:gd name="T42" fmla="*/ 52 w 75"/>
                <a:gd name="T43" fmla="*/ 72 h 75"/>
                <a:gd name="T44" fmla="*/ 58 w 75"/>
                <a:gd name="T45" fmla="*/ 69 h 75"/>
                <a:gd name="T46" fmla="*/ 64 w 75"/>
                <a:gd name="T47" fmla="*/ 64 h 75"/>
                <a:gd name="T48" fmla="*/ 69 w 75"/>
                <a:gd name="T49" fmla="*/ 58 h 75"/>
                <a:gd name="T50" fmla="*/ 72 w 75"/>
                <a:gd name="T51" fmla="*/ 52 h 75"/>
                <a:gd name="T52" fmla="*/ 75 w 75"/>
                <a:gd name="T53" fmla="*/ 45 h 75"/>
                <a:gd name="T54" fmla="*/ 75 w 75"/>
                <a:gd name="T55" fmla="*/ 38 h 75"/>
                <a:gd name="T56" fmla="*/ 75 w 75"/>
                <a:gd name="T57" fmla="*/ 38 h 75"/>
                <a:gd name="T58" fmla="*/ 75 w 75"/>
                <a:gd name="T59" fmla="*/ 30 h 75"/>
                <a:gd name="T60" fmla="*/ 72 w 75"/>
                <a:gd name="T61" fmla="*/ 23 h 75"/>
                <a:gd name="T62" fmla="*/ 69 w 75"/>
                <a:gd name="T63" fmla="*/ 17 h 75"/>
                <a:gd name="T64" fmla="*/ 64 w 75"/>
                <a:gd name="T65" fmla="*/ 11 h 75"/>
                <a:gd name="T66" fmla="*/ 58 w 75"/>
                <a:gd name="T67" fmla="*/ 6 h 75"/>
                <a:gd name="T68" fmla="*/ 52 w 75"/>
                <a:gd name="T69" fmla="*/ 3 h 75"/>
                <a:gd name="T70" fmla="*/ 45 w 75"/>
                <a:gd name="T71" fmla="*/ 0 h 75"/>
                <a:gd name="T72" fmla="*/ 37 w 75"/>
                <a:gd name="T73" fmla="*/ 0 h 75"/>
                <a:gd name="T74" fmla="*/ 37 w 75"/>
                <a:gd name="T75"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5" h="75">
                  <a:moveTo>
                    <a:pt x="37" y="0"/>
                  </a:moveTo>
                  <a:lnTo>
                    <a:pt x="37" y="0"/>
                  </a:lnTo>
                  <a:lnTo>
                    <a:pt x="30" y="0"/>
                  </a:lnTo>
                  <a:lnTo>
                    <a:pt x="23" y="3"/>
                  </a:lnTo>
                  <a:lnTo>
                    <a:pt x="17" y="6"/>
                  </a:lnTo>
                  <a:lnTo>
                    <a:pt x="11" y="11"/>
                  </a:lnTo>
                  <a:lnTo>
                    <a:pt x="6" y="17"/>
                  </a:lnTo>
                  <a:lnTo>
                    <a:pt x="3" y="23"/>
                  </a:lnTo>
                  <a:lnTo>
                    <a:pt x="0" y="30"/>
                  </a:lnTo>
                  <a:lnTo>
                    <a:pt x="0" y="38"/>
                  </a:lnTo>
                  <a:lnTo>
                    <a:pt x="0" y="38"/>
                  </a:lnTo>
                  <a:lnTo>
                    <a:pt x="0" y="45"/>
                  </a:lnTo>
                  <a:lnTo>
                    <a:pt x="3" y="52"/>
                  </a:lnTo>
                  <a:lnTo>
                    <a:pt x="6" y="58"/>
                  </a:lnTo>
                  <a:lnTo>
                    <a:pt x="11" y="64"/>
                  </a:lnTo>
                  <a:lnTo>
                    <a:pt x="17" y="69"/>
                  </a:lnTo>
                  <a:lnTo>
                    <a:pt x="23" y="72"/>
                  </a:lnTo>
                  <a:lnTo>
                    <a:pt x="30" y="75"/>
                  </a:lnTo>
                  <a:lnTo>
                    <a:pt x="37" y="75"/>
                  </a:lnTo>
                  <a:lnTo>
                    <a:pt x="37" y="75"/>
                  </a:lnTo>
                  <a:lnTo>
                    <a:pt x="45" y="75"/>
                  </a:lnTo>
                  <a:lnTo>
                    <a:pt x="52" y="72"/>
                  </a:lnTo>
                  <a:lnTo>
                    <a:pt x="58" y="69"/>
                  </a:lnTo>
                  <a:lnTo>
                    <a:pt x="64" y="64"/>
                  </a:lnTo>
                  <a:lnTo>
                    <a:pt x="69" y="58"/>
                  </a:lnTo>
                  <a:lnTo>
                    <a:pt x="72" y="52"/>
                  </a:lnTo>
                  <a:lnTo>
                    <a:pt x="75" y="45"/>
                  </a:lnTo>
                  <a:lnTo>
                    <a:pt x="75" y="38"/>
                  </a:lnTo>
                  <a:lnTo>
                    <a:pt x="75" y="38"/>
                  </a:lnTo>
                  <a:lnTo>
                    <a:pt x="75" y="30"/>
                  </a:lnTo>
                  <a:lnTo>
                    <a:pt x="72" y="23"/>
                  </a:lnTo>
                  <a:lnTo>
                    <a:pt x="69" y="17"/>
                  </a:lnTo>
                  <a:lnTo>
                    <a:pt x="64" y="11"/>
                  </a:lnTo>
                  <a:lnTo>
                    <a:pt x="58" y="6"/>
                  </a:lnTo>
                  <a:lnTo>
                    <a:pt x="52" y="3"/>
                  </a:lnTo>
                  <a:lnTo>
                    <a:pt x="45" y="0"/>
                  </a:lnTo>
                  <a:lnTo>
                    <a:pt x="37" y="0"/>
                  </a:lnTo>
                  <a:lnTo>
                    <a:pt x="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chemeClr val="bg1"/>
                </a:solidFill>
              </a:endParaRPr>
            </a:p>
          </p:txBody>
        </p:sp>
        <p:sp>
          <p:nvSpPr>
            <p:cNvPr id="36" name="Freeform 188"/>
            <p:cNvSpPr>
              <a:spLocks noEditPoints="1"/>
            </p:cNvSpPr>
            <p:nvPr/>
          </p:nvSpPr>
          <p:spPr bwMode="auto">
            <a:xfrm>
              <a:off x="5215104" y="1060366"/>
              <a:ext cx="372008" cy="276465"/>
            </a:xfrm>
            <a:custGeom>
              <a:avLst/>
              <a:gdLst>
                <a:gd name="T0" fmla="*/ 275 w 1096"/>
                <a:gd name="T1" fmla="*/ 62 h 817"/>
                <a:gd name="T2" fmla="*/ 1007 w 1096"/>
                <a:gd name="T3" fmla="*/ 62 h 817"/>
                <a:gd name="T4" fmla="*/ 1017 w 1096"/>
                <a:gd name="T5" fmla="*/ 64 h 817"/>
                <a:gd name="T6" fmla="*/ 1026 w 1096"/>
                <a:gd name="T7" fmla="*/ 70 h 817"/>
                <a:gd name="T8" fmla="*/ 1032 w 1096"/>
                <a:gd name="T9" fmla="*/ 79 h 817"/>
                <a:gd name="T10" fmla="*/ 1033 w 1096"/>
                <a:gd name="T11" fmla="*/ 89 h 817"/>
                <a:gd name="T12" fmla="*/ 1096 w 1096"/>
                <a:gd name="T13" fmla="*/ 517 h 817"/>
                <a:gd name="T14" fmla="*/ 1096 w 1096"/>
                <a:gd name="T15" fmla="*/ 89 h 817"/>
                <a:gd name="T16" fmla="*/ 1094 w 1096"/>
                <a:gd name="T17" fmla="*/ 71 h 817"/>
                <a:gd name="T18" fmla="*/ 1081 w 1096"/>
                <a:gd name="T19" fmla="*/ 38 h 817"/>
                <a:gd name="T20" fmla="*/ 1057 w 1096"/>
                <a:gd name="T21" fmla="*/ 15 h 817"/>
                <a:gd name="T22" fmla="*/ 1024 w 1096"/>
                <a:gd name="T23" fmla="*/ 1 h 817"/>
                <a:gd name="T24" fmla="*/ 1007 w 1096"/>
                <a:gd name="T25" fmla="*/ 0 h 817"/>
                <a:gd name="T26" fmla="*/ 89 w 1096"/>
                <a:gd name="T27" fmla="*/ 0 h 817"/>
                <a:gd name="T28" fmla="*/ 72 w 1096"/>
                <a:gd name="T29" fmla="*/ 1 h 817"/>
                <a:gd name="T30" fmla="*/ 39 w 1096"/>
                <a:gd name="T31" fmla="*/ 15 h 817"/>
                <a:gd name="T32" fmla="*/ 15 w 1096"/>
                <a:gd name="T33" fmla="*/ 38 h 817"/>
                <a:gd name="T34" fmla="*/ 2 w 1096"/>
                <a:gd name="T35" fmla="*/ 71 h 817"/>
                <a:gd name="T36" fmla="*/ 0 w 1096"/>
                <a:gd name="T37" fmla="*/ 89 h 817"/>
                <a:gd name="T38" fmla="*/ 0 w 1096"/>
                <a:gd name="T39" fmla="*/ 728 h 817"/>
                <a:gd name="T40" fmla="*/ 2 w 1096"/>
                <a:gd name="T41" fmla="*/ 746 h 817"/>
                <a:gd name="T42" fmla="*/ 15 w 1096"/>
                <a:gd name="T43" fmla="*/ 779 h 817"/>
                <a:gd name="T44" fmla="*/ 39 w 1096"/>
                <a:gd name="T45" fmla="*/ 803 h 817"/>
                <a:gd name="T46" fmla="*/ 72 w 1096"/>
                <a:gd name="T47" fmla="*/ 816 h 817"/>
                <a:gd name="T48" fmla="*/ 89 w 1096"/>
                <a:gd name="T49" fmla="*/ 817 h 817"/>
                <a:gd name="T50" fmla="*/ 552 w 1096"/>
                <a:gd name="T51" fmla="*/ 755 h 817"/>
                <a:gd name="T52" fmla="*/ 63 w 1096"/>
                <a:gd name="T53" fmla="*/ 728 h 817"/>
                <a:gd name="T54" fmla="*/ 63 w 1096"/>
                <a:gd name="T55" fmla="*/ 89 h 817"/>
                <a:gd name="T56" fmla="*/ 64 w 1096"/>
                <a:gd name="T57" fmla="*/ 79 h 817"/>
                <a:gd name="T58" fmla="*/ 70 w 1096"/>
                <a:gd name="T59" fmla="*/ 70 h 817"/>
                <a:gd name="T60" fmla="*/ 79 w 1096"/>
                <a:gd name="T61" fmla="*/ 64 h 817"/>
                <a:gd name="T62" fmla="*/ 89 w 1096"/>
                <a:gd name="T63" fmla="*/ 62 h 817"/>
                <a:gd name="T64" fmla="*/ 213 w 1096"/>
                <a:gd name="T65" fmla="*/ 755 h 817"/>
                <a:gd name="T66" fmla="*/ 89 w 1096"/>
                <a:gd name="T67" fmla="*/ 755 h 817"/>
                <a:gd name="T68" fmla="*/ 79 w 1096"/>
                <a:gd name="T69" fmla="*/ 753 h 817"/>
                <a:gd name="T70" fmla="*/ 70 w 1096"/>
                <a:gd name="T71" fmla="*/ 748 h 817"/>
                <a:gd name="T72" fmla="*/ 64 w 1096"/>
                <a:gd name="T73" fmla="*/ 739 h 817"/>
                <a:gd name="T74" fmla="*/ 63 w 1096"/>
                <a:gd name="T75" fmla="*/ 728 h 8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96" h="817">
                  <a:moveTo>
                    <a:pt x="275" y="755"/>
                  </a:moveTo>
                  <a:lnTo>
                    <a:pt x="275" y="62"/>
                  </a:lnTo>
                  <a:lnTo>
                    <a:pt x="1007" y="62"/>
                  </a:lnTo>
                  <a:lnTo>
                    <a:pt x="1007" y="62"/>
                  </a:lnTo>
                  <a:lnTo>
                    <a:pt x="1013" y="62"/>
                  </a:lnTo>
                  <a:lnTo>
                    <a:pt x="1017" y="64"/>
                  </a:lnTo>
                  <a:lnTo>
                    <a:pt x="1021" y="67"/>
                  </a:lnTo>
                  <a:lnTo>
                    <a:pt x="1026" y="70"/>
                  </a:lnTo>
                  <a:lnTo>
                    <a:pt x="1029" y="74"/>
                  </a:lnTo>
                  <a:lnTo>
                    <a:pt x="1032" y="79"/>
                  </a:lnTo>
                  <a:lnTo>
                    <a:pt x="1033" y="83"/>
                  </a:lnTo>
                  <a:lnTo>
                    <a:pt x="1033" y="89"/>
                  </a:lnTo>
                  <a:lnTo>
                    <a:pt x="1033" y="507"/>
                  </a:lnTo>
                  <a:lnTo>
                    <a:pt x="1096" y="517"/>
                  </a:lnTo>
                  <a:lnTo>
                    <a:pt x="1096" y="89"/>
                  </a:lnTo>
                  <a:lnTo>
                    <a:pt x="1096" y="89"/>
                  </a:lnTo>
                  <a:lnTo>
                    <a:pt x="1096" y="79"/>
                  </a:lnTo>
                  <a:lnTo>
                    <a:pt x="1094" y="71"/>
                  </a:lnTo>
                  <a:lnTo>
                    <a:pt x="1090" y="53"/>
                  </a:lnTo>
                  <a:lnTo>
                    <a:pt x="1081" y="38"/>
                  </a:lnTo>
                  <a:lnTo>
                    <a:pt x="1070" y="25"/>
                  </a:lnTo>
                  <a:lnTo>
                    <a:pt x="1057" y="15"/>
                  </a:lnTo>
                  <a:lnTo>
                    <a:pt x="1042" y="6"/>
                  </a:lnTo>
                  <a:lnTo>
                    <a:pt x="1024" y="1"/>
                  </a:lnTo>
                  <a:lnTo>
                    <a:pt x="1017" y="0"/>
                  </a:lnTo>
                  <a:lnTo>
                    <a:pt x="1007" y="0"/>
                  </a:lnTo>
                  <a:lnTo>
                    <a:pt x="89" y="0"/>
                  </a:lnTo>
                  <a:lnTo>
                    <a:pt x="89" y="0"/>
                  </a:lnTo>
                  <a:lnTo>
                    <a:pt x="79" y="0"/>
                  </a:lnTo>
                  <a:lnTo>
                    <a:pt x="72" y="1"/>
                  </a:lnTo>
                  <a:lnTo>
                    <a:pt x="54" y="6"/>
                  </a:lnTo>
                  <a:lnTo>
                    <a:pt x="39" y="15"/>
                  </a:lnTo>
                  <a:lnTo>
                    <a:pt x="25" y="25"/>
                  </a:lnTo>
                  <a:lnTo>
                    <a:pt x="15" y="38"/>
                  </a:lnTo>
                  <a:lnTo>
                    <a:pt x="6" y="53"/>
                  </a:lnTo>
                  <a:lnTo>
                    <a:pt x="2" y="71"/>
                  </a:lnTo>
                  <a:lnTo>
                    <a:pt x="0" y="79"/>
                  </a:lnTo>
                  <a:lnTo>
                    <a:pt x="0" y="89"/>
                  </a:lnTo>
                  <a:lnTo>
                    <a:pt x="0" y="728"/>
                  </a:lnTo>
                  <a:lnTo>
                    <a:pt x="0" y="728"/>
                  </a:lnTo>
                  <a:lnTo>
                    <a:pt x="0" y="737"/>
                  </a:lnTo>
                  <a:lnTo>
                    <a:pt x="2" y="746"/>
                  </a:lnTo>
                  <a:lnTo>
                    <a:pt x="6" y="764"/>
                  </a:lnTo>
                  <a:lnTo>
                    <a:pt x="15" y="779"/>
                  </a:lnTo>
                  <a:lnTo>
                    <a:pt x="25" y="792"/>
                  </a:lnTo>
                  <a:lnTo>
                    <a:pt x="39" y="803"/>
                  </a:lnTo>
                  <a:lnTo>
                    <a:pt x="54" y="811"/>
                  </a:lnTo>
                  <a:lnTo>
                    <a:pt x="72" y="816"/>
                  </a:lnTo>
                  <a:lnTo>
                    <a:pt x="79" y="817"/>
                  </a:lnTo>
                  <a:lnTo>
                    <a:pt x="89" y="817"/>
                  </a:lnTo>
                  <a:lnTo>
                    <a:pt x="604" y="817"/>
                  </a:lnTo>
                  <a:lnTo>
                    <a:pt x="552" y="755"/>
                  </a:lnTo>
                  <a:lnTo>
                    <a:pt x="275" y="755"/>
                  </a:lnTo>
                  <a:close/>
                  <a:moveTo>
                    <a:pt x="63" y="728"/>
                  </a:moveTo>
                  <a:lnTo>
                    <a:pt x="63" y="89"/>
                  </a:lnTo>
                  <a:lnTo>
                    <a:pt x="63" y="89"/>
                  </a:lnTo>
                  <a:lnTo>
                    <a:pt x="63" y="83"/>
                  </a:lnTo>
                  <a:lnTo>
                    <a:pt x="64" y="79"/>
                  </a:lnTo>
                  <a:lnTo>
                    <a:pt x="67" y="74"/>
                  </a:lnTo>
                  <a:lnTo>
                    <a:pt x="70" y="70"/>
                  </a:lnTo>
                  <a:lnTo>
                    <a:pt x="74" y="67"/>
                  </a:lnTo>
                  <a:lnTo>
                    <a:pt x="79" y="64"/>
                  </a:lnTo>
                  <a:lnTo>
                    <a:pt x="83" y="62"/>
                  </a:lnTo>
                  <a:lnTo>
                    <a:pt x="89" y="62"/>
                  </a:lnTo>
                  <a:lnTo>
                    <a:pt x="213" y="62"/>
                  </a:lnTo>
                  <a:lnTo>
                    <a:pt x="213" y="755"/>
                  </a:lnTo>
                  <a:lnTo>
                    <a:pt x="89" y="755"/>
                  </a:lnTo>
                  <a:lnTo>
                    <a:pt x="89" y="755"/>
                  </a:lnTo>
                  <a:lnTo>
                    <a:pt x="83" y="755"/>
                  </a:lnTo>
                  <a:lnTo>
                    <a:pt x="79" y="753"/>
                  </a:lnTo>
                  <a:lnTo>
                    <a:pt x="74" y="750"/>
                  </a:lnTo>
                  <a:lnTo>
                    <a:pt x="70" y="748"/>
                  </a:lnTo>
                  <a:lnTo>
                    <a:pt x="67" y="743"/>
                  </a:lnTo>
                  <a:lnTo>
                    <a:pt x="64" y="739"/>
                  </a:lnTo>
                  <a:lnTo>
                    <a:pt x="63" y="734"/>
                  </a:lnTo>
                  <a:lnTo>
                    <a:pt x="63" y="728"/>
                  </a:lnTo>
                  <a:lnTo>
                    <a:pt x="63" y="7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chemeClr val="bg1"/>
                </a:solidFill>
              </a:endParaRPr>
            </a:p>
          </p:txBody>
        </p:sp>
        <p:sp>
          <p:nvSpPr>
            <p:cNvPr id="39" name="Freeform 189"/>
            <p:cNvSpPr>
              <a:spLocks/>
            </p:cNvSpPr>
            <p:nvPr/>
          </p:nvSpPr>
          <p:spPr bwMode="auto">
            <a:xfrm>
              <a:off x="5415338" y="1155909"/>
              <a:ext cx="217513" cy="238858"/>
            </a:xfrm>
            <a:custGeom>
              <a:avLst/>
              <a:gdLst>
                <a:gd name="T0" fmla="*/ 369 w 641"/>
                <a:gd name="T1" fmla="*/ 85 h 706"/>
                <a:gd name="T2" fmla="*/ 363 w 641"/>
                <a:gd name="T3" fmla="*/ 52 h 706"/>
                <a:gd name="T4" fmla="*/ 332 w 641"/>
                <a:gd name="T5" fmla="*/ 15 h 706"/>
                <a:gd name="T6" fmla="*/ 284 w 641"/>
                <a:gd name="T7" fmla="*/ 0 h 706"/>
                <a:gd name="T8" fmla="*/ 263 w 641"/>
                <a:gd name="T9" fmla="*/ 2 h 706"/>
                <a:gd name="T10" fmla="*/ 220 w 641"/>
                <a:gd name="T11" fmla="*/ 26 h 706"/>
                <a:gd name="T12" fmla="*/ 197 w 641"/>
                <a:gd name="T13" fmla="*/ 69 h 706"/>
                <a:gd name="T14" fmla="*/ 150 w 641"/>
                <a:gd name="T15" fmla="*/ 357 h 706"/>
                <a:gd name="T16" fmla="*/ 124 w 641"/>
                <a:gd name="T17" fmla="*/ 338 h 706"/>
                <a:gd name="T18" fmla="*/ 91 w 641"/>
                <a:gd name="T19" fmla="*/ 332 h 706"/>
                <a:gd name="T20" fmla="*/ 45 w 641"/>
                <a:gd name="T21" fmla="*/ 345 h 706"/>
                <a:gd name="T22" fmla="*/ 26 w 641"/>
                <a:gd name="T23" fmla="*/ 361 h 706"/>
                <a:gd name="T24" fmla="*/ 2 w 641"/>
                <a:gd name="T25" fmla="*/ 405 h 706"/>
                <a:gd name="T26" fmla="*/ 6 w 641"/>
                <a:gd name="T27" fmla="*/ 454 h 706"/>
                <a:gd name="T28" fmla="*/ 241 w 641"/>
                <a:gd name="T29" fmla="*/ 697 h 706"/>
                <a:gd name="T30" fmla="*/ 250 w 641"/>
                <a:gd name="T31" fmla="*/ 705 h 706"/>
                <a:gd name="T32" fmla="*/ 262 w 641"/>
                <a:gd name="T33" fmla="*/ 706 h 706"/>
                <a:gd name="T34" fmla="*/ 280 w 641"/>
                <a:gd name="T35" fmla="*/ 702 h 706"/>
                <a:gd name="T36" fmla="*/ 289 w 641"/>
                <a:gd name="T37" fmla="*/ 693 h 706"/>
                <a:gd name="T38" fmla="*/ 293 w 641"/>
                <a:gd name="T39" fmla="*/ 675 h 706"/>
                <a:gd name="T40" fmla="*/ 289 w 641"/>
                <a:gd name="T41" fmla="*/ 659 h 706"/>
                <a:gd name="T42" fmla="*/ 69 w 641"/>
                <a:gd name="T43" fmla="*/ 437 h 706"/>
                <a:gd name="T44" fmla="*/ 63 w 641"/>
                <a:gd name="T45" fmla="*/ 422 h 706"/>
                <a:gd name="T46" fmla="*/ 69 w 641"/>
                <a:gd name="T47" fmla="*/ 406 h 706"/>
                <a:gd name="T48" fmla="*/ 82 w 641"/>
                <a:gd name="T49" fmla="*/ 396 h 706"/>
                <a:gd name="T50" fmla="*/ 100 w 641"/>
                <a:gd name="T51" fmla="*/ 396 h 706"/>
                <a:gd name="T52" fmla="*/ 180 w 641"/>
                <a:gd name="T53" fmla="*/ 474 h 706"/>
                <a:gd name="T54" fmla="*/ 195 w 641"/>
                <a:gd name="T55" fmla="*/ 483 h 706"/>
                <a:gd name="T56" fmla="*/ 223 w 641"/>
                <a:gd name="T57" fmla="*/ 485 h 706"/>
                <a:gd name="T58" fmla="*/ 241 w 641"/>
                <a:gd name="T59" fmla="*/ 474 h 706"/>
                <a:gd name="T60" fmla="*/ 252 w 641"/>
                <a:gd name="T61" fmla="*/ 458 h 706"/>
                <a:gd name="T62" fmla="*/ 258 w 641"/>
                <a:gd name="T63" fmla="*/ 430 h 706"/>
                <a:gd name="T64" fmla="*/ 258 w 641"/>
                <a:gd name="T65" fmla="*/ 421 h 706"/>
                <a:gd name="T66" fmla="*/ 259 w 641"/>
                <a:gd name="T67" fmla="*/ 81 h 706"/>
                <a:gd name="T68" fmla="*/ 271 w 641"/>
                <a:gd name="T69" fmla="*/ 64 h 706"/>
                <a:gd name="T70" fmla="*/ 284 w 641"/>
                <a:gd name="T71" fmla="*/ 63 h 706"/>
                <a:gd name="T72" fmla="*/ 293 w 641"/>
                <a:gd name="T73" fmla="*/ 64 h 706"/>
                <a:gd name="T74" fmla="*/ 307 w 641"/>
                <a:gd name="T75" fmla="*/ 81 h 706"/>
                <a:gd name="T76" fmla="*/ 537 w 641"/>
                <a:gd name="T77" fmla="*/ 351 h 706"/>
                <a:gd name="T78" fmla="*/ 550 w 641"/>
                <a:gd name="T79" fmla="*/ 357 h 706"/>
                <a:gd name="T80" fmla="*/ 573 w 641"/>
                <a:gd name="T81" fmla="*/ 384 h 706"/>
                <a:gd name="T82" fmla="*/ 579 w 641"/>
                <a:gd name="T83" fmla="*/ 409 h 706"/>
                <a:gd name="T84" fmla="*/ 559 w 641"/>
                <a:gd name="T85" fmla="*/ 665 h 706"/>
                <a:gd name="T86" fmla="*/ 564 w 641"/>
                <a:gd name="T87" fmla="*/ 683 h 706"/>
                <a:gd name="T88" fmla="*/ 576 w 641"/>
                <a:gd name="T89" fmla="*/ 694 h 706"/>
                <a:gd name="T90" fmla="*/ 589 w 641"/>
                <a:gd name="T91" fmla="*/ 697 h 706"/>
                <a:gd name="T92" fmla="*/ 596 w 641"/>
                <a:gd name="T93" fmla="*/ 697 h 706"/>
                <a:gd name="T94" fmla="*/ 611 w 641"/>
                <a:gd name="T95" fmla="*/ 690 h 706"/>
                <a:gd name="T96" fmla="*/ 620 w 641"/>
                <a:gd name="T97" fmla="*/ 675 h 706"/>
                <a:gd name="T98" fmla="*/ 641 w 641"/>
                <a:gd name="T99" fmla="*/ 424 h 706"/>
                <a:gd name="T100" fmla="*/ 641 w 641"/>
                <a:gd name="T101" fmla="*/ 405 h 706"/>
                <a:gd name="T102" fmla="*/ 632 w 641"/>
                <a:gd name="T103" fmla="*/ 364 h 706"/>
                <a:gd name="T104" fmla="*/ 614 w 641"/>
                <a:gd name="T105" fmla="*/ 333 h 706"/>
                <a:gd name="T106" fmla="*/ 592 w 641"/>
                <a:gd name="T107" fmla="*/ 311 h 706"/>
                <a:gd name="T108" fmla="*/ 549 w 641"/>
                <a:gd name="T109" fmla="*/ 290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41" h="706">
                  <a:moveTo>
                    <a:pt x="549" y="290"/>
                  </a:moveTo>
                  <a:lnTo>
                    <a:pt x="369" y="260"/>
                  </a:lnTo>
                  <a:lnTo>
                    <a:pt x="369" y="85"/>
                  </a:lnTo>
                  <a:lnTo>
                    <a:pt x="369" y="85"/>
                  </a:lnTo>
                  <a:lnTo>
                    <a:pt x="368" y="69"/>
                  </a:lnTo>
                  <a:lnTo>
                    <a:pt x="363" y="52"/>
                  </a:lnTo>
                  <a:lnTo>
                    <a:pt x="356" y="37"/>
                  </a:lnTo>
                  <a:lnTo>
                    <a:pt x="345" y="26"/>
                  </a:lnTo>
                  <a:lnTo>
                    <a:pt x="332" y="15"/>
                  </a:lnTo>
                  <a:lnTo>
                    <a:pt x="317" y="8"/>
                  </a:lnTo>
                  <a:lnTo>
                    <a:pt x="302" y="2"/>
                  </a:lnTo>
                  <a:lnTo>
                    <a:pt x="284" y="0"/>
                  </a:lnTo>
                  <a:lnTo>
                    <a:pt x="280" y="0"/>
                  </a:lnTo>
                  <a:lnTo>
                    <a:pt x="280" y="0"/>
                  </a:lnTo>
                  <a:lnTo>
                    <a:pt x="263" y="2"/>
                  </a:lnTo>
                  <a:lnTo>
                    <a:pt x="247" y="8"/>
                  </a:lnTo>
                  <a:lnTo>
                    <a:pt x="232" y="15"/>
                  </a:lnTo>
                  <a:lnTo>
                    <a:pt x="220" y="26"/>
                  </a:lnTo>
                  <a:lnTo>
                    <a:pt x="210" y="37"/>
                  </a:lnTo>
                  <a:lnTo>
                    <a:pt x="202" y="52"/>
                  </a:lnTo>
                  <a:lnTo>
                    <a:pt x="197" y="69"/>
                  </a:lnTo>
                  <a:lnTo>
                    <a:pt x="195" y="85"/>
                  </a:lnTo>
                  <a:lnTo>
                    <a:pt x="195" y="402"/>
                  </a:lnTo>
                  <a:lnTo>
                    <a:pt x="150" y="357"/>
                  </a:lnTo>
                  <a:lnTo>
                    <a:pt x="150" y="357"/>
                  </a:lnTo>
                  <a:lnTo>
                    <a:pt x="139" y="345"/>
                  </a:lnTo>
                  <a:lnTo>
                    <a:pt x="124" y="338"/>
                  </a:lnTo>
                  <a:lnTo>
                    <a:pt x="107" y="333"/>
                  </a:lnTo>
                  <a:lnTo>
                    <a:pt x="91" y="332"/>
                  </a:lnTo>
                  <a:lnTo>
                    <a:pt x="91" y="332"/>
                  </a:lnTo>
                  <a:lnTo>
                    <a:pt x="75" y="333"/>
                  </a:lnTo>
                  <a:lnTo>
                    <a:pt x="58" y="338"/>
                  </a:lnTo>
                  <a:lnTo>
                    <a:pt x="45" y="345"/>
                  </a:lnTo>
                  <a:lnTo>
                    <a:pt x="32" y="356"/>
                  </a:lnTo>
                  <a:lnTo>
                    <a:pt x="26" y="361"/>
                  </a:lnTo>
                  <a:lnTo>
                    <a:pt x="26" y="361"/>
                  </a:lnTo>
                  <a:lnTo>
                    <a:pt x="15" y="375"/>
                  </a:lnTo>
                  <a:lnTo>
                    <a:pt x="6" y="390"/>
                  </a:lnTo>
                  <a:lnTo>
                    <a:pt x="2" y="405"/>
                  </a:lnTo>
                  <a:lnTo>
                    <a:pt x="0" y="421"/>
                  </a:lnTo>
                  <a:lnTo>
                    <a:pt x="2" y="437"/>
                  </a:lnTo>
                  <a:lnTo>
                    <a:pt x="6" y="454"/>
                  </a:lnTo>
                  <a:lnTo>
                    <a:pt x="14" y="468"/>
                  </a:lnTo>
                  <a:lnTo>
                    <a:pt x="26" y="482"/>
                  </a:lnTo>
                  <a:lnTo>
                    <a:pt x="241" y="697"/>
                  </a:lnTo>
                  <a:lnTo>
                    <a:pt x="241" y="697"/>
                  </a:lnTo>
                  <a:lnTo>
                    <a:pt x="246" y="702"/>
                  </a:lnTo>
                  <a:lnTo>
                    <a:pt x="250" y="705"/>
                  </a:lnTo>
                  <a:lnTo>
                    <a:pt x="256" y="706"/>
                  </a:lnTo>
                  <a:lnTo>
                    <a:pt x="262" y="706"/>
                  </a:lnTo>
                  <a:lnTo>
                    <a:pt x="262" y="706"/>
                  </a:lnTo>
                  <a:lnTo>
                    <a:pt x="268" y="706"/>
                  </a:lnTo>
                  <a:lnTo>
                    <a:pt x="274" y="705"/>
                  </a:lnTo>
                  <a:lnTo>
                    <a:pt x="280" y="702"/>
                  </a:lnTo>
                  <a:lnTo>
                    <a:pt x="284" y="697"/>
                  </a:lnTo>
                  <a:lnTo>
                    <a:pt x="284" y="697"/>
                  </a:lnTo>
                  <a:lnTo>
                    <a:pt x="289" y="693"/>
                  </a:lnTo>
                  <a:lnTo>
                    <a:pt x="292" y="687"/>
                  </a:lnTo>
                  <a:lnTo>
                    <a:pt x="293" y="681"/>
                  </a:lnTo>
                  <a:lnTo>
                    <a:pt x="293" y="675"/>
                  </a:lnTo>
                  <a:lnTo>
                    <a:pt x="293" y="669"/>
                  </a:lnTo>
                  <a:lnTo>
                    <a:pt x="292" y="663"/>
                  </a:lnTo>
                  <a:lnTo>
                    <a:pt x="289" y="659"/>
                  </a:lnTo>
                  <a:lnTo>
                    <a:pt x="284" y="653"/>
                  </a:lnTo>
                  <a:lnTo>
                    <a:pt x="69" y="437"/>
                  </a:lnTo>
                  <a:lnTo>
                    <a:pt x="69" y="437"/>
                  </a:lnTo>
                  <a:lnTo>
                    <a:pt x="67" y="434"/>
                  </a:lnTo>
                  <a:lnTo>
                    <a:pt x="64" y="430"/>
                  </a:lnTo>
                  <a:lnTo>
                    <a:pt x="63" y="422"/>
                  </a:lnTo>
                  <a:lnTo>
                    <a:pt x="64" y="413"/>
                  </a:lnTo>
                  <a:lnTo>
                    <a:pt x="67" y="409"/>
                  </a:lnTo>
                  <a:lnTo>
                    <a:pt x="69" y="406"/>
                  </a:lnTo>
                  <a:lnTo>
                    <a:pt x="75" y="400"/>
                  </a:lnTo>
                  <a:lnTo>
                    <a:pt x="75" y="400"/>
                  </a:lnTo>
                  <a:lnTo>
                    <a:pt x="82" y="396"/>
                  </a:lnTo>
                  <a:lnTo>
                    <a:pt x="91" y="394"/>
                  </a:lnTo>
                  <a:lnTo>
                    <a:pt x="91" y="394"/>
                  </a:lnTo>
                  <a:lnTo>
                    <a:pt x="100" y="396"/>
                  </a:lnTo>
                  <a:lnTo>
                    <a:pt x="107" y="400"/>
                  </a:lnTo>
                  <a:lnTo>
                    <a:pt x="180" y="474"/>
                  </a:lnTo>
                  <a:lnTo>
                    <a:pt x="180" y="474"/>
                  </a:lnTo>
                  <a:lnTo>
                    <a:pt x="188" y="480"/>
                  </a:lnTo>
                  <a:lnTo>
                    <a:pt x="195" y="483"/>
                  </a:lnTo>
                  <a:lnTo>
                    <a:pt x="195" y="483"/>
                  </a:lnTo>
                  <a:lnTo>
                    <a:pt x="205" y="485"/>
                  </a:lnTo>
                  <a:lnTo>
                    <a:pt x="214" y="486"/>
                  </a:lnTo>
                  <a:lnTo>
                    <a:pt x="223" y="485"/>
                  </a:lnTo>
                  <a:lnTo>
                    <a:pt x="223" y="485"/>
                  </a:lnTo>
                  <a:lnTo>
                    <a:pt x="234" y="482"/>
                  </a:lnTo>
                  <a:lnTo>
                    <a:pt x="241" y="474"/>
                  </a:lnTo>
                  <a:lnTo>
                    <a:pt x="247" y="467"/>
                  </a:lnTo>
                  <a:lnTo>
                    <a:pt x="252" y="458"/>
                  </a:lnTo>
                  <a:lnTo>
                    <a:pt x="252" y="458"/>
                  </a:lnTo>
                  <a:lnTo>
                    <a:pt x="256" y="443"/>
                  </a:lnTo>
                  <a:lnTo>
                    <a:pt x="258" y="430"/>
                  </a:lnTo>
                  <a:lnTo>
                    <a:pt x="258" y="430"/>
                  </a:lnTo>
                  <a:lnTo>
                    <a:pt x="258" y="421"/>
                  </a:lnTo>
                  <a:lnTo>
                    <a:pt x="258" y="421"/>
                  </a:lnTo>
                  <a:lnTo>
                    <a:pt x="258" y="421"/>
                  </a:lnTo>
                  <a:lnTo>
                    <a:pt x="258" y="85"/>
                  </a:lnTo>
                  <a:lnTo>
                    <a:pt x="258" y="85"/>
                  </a:lnTo>
                  <a:lnTo>
                    <a:pt x="259" y="81"/>
                  </a:lnTo>
                  <a:lnTo>
                    <a:pt x="259" y="76"/>
                  </a:lnTo>
                  <a:lnTo>
                    <a:pt x="265" y="70"/>
                  </a:lnTo>
                  <a:lnTo>
                    <a:pt x="271" y="64"/>
                  </a:lnTo>
                  <a:lnTo>
                    <a:pt x="275" y="64"/>
                  </a:lnTo>
                  <a:lnTo>
                    <a:pt x="280" y="63"/>
                  </a:lnTo>
                  <a:lnTo>
                    <a:pt x="284" y="63"/>
                  </a:lnTo>
                  <a:lnTo>
                    <a:pt x="284" y="63"/>
                  </a:lnTo>
                  <a:lnTo>
                    <a:pt x="289" y="64"/>
                  </a:lnTo>
                  <a:lnTo>
                    <a:pt x="293" y="64"/>
                  </a:lnTo>
                  <a:lnTo>
                    <a:pt x="301" y="70"/>
                  </a:lnTo>
                  <a:lnTo>
                    <a:pt x="305" y="76"/>
                  </a:lnTo>
                  <a:lnTo>
                    <a:pt x="307" y="81"/>
                  </a:lnTo>
                  <a:lnTo>
                    <a:pt x="307" y="85"/>
                  </a:lnTo>
                  <a:lnTo>
                    <a:pt x="307" y="314"/>
                  </a:lnTo>
                  <a:lnTo>
                    <a:pt x="537" y="351"/>
                  </a:lnTo>
                  <a:lnTo>
                    <a:pt x="537" y="351"/>
                  </a:lnTo>
                  <a:lnTo>
                    <a:pt x="544" y="353"/>
                  </a:lnTo>
                  <a:lnTo>
                    <a:pt x="550" y="357"/>
                  </a:lnTo>
                  <a:lnTo>
                    <a:pt x="558" y="363"/>
                  </a:lnTo>
                  <a:lnTo>
                    <a:pt x="565" y="372"/>
                  </a:lnTo>
                  <a:lnTo>
                    <a:pt x="573" y="384"/>
                  </a:lnTo>
                  <a:lnTo>
                    <a:pt x="576" y="391"/>
                  </a:lnTo>
                  <a:lnTo>
                    <a:pt x="577" y="400"/>
                  </a:lnTo>
                  <a:lnTo>
                    <a:pt x="579" y="409"/>
                  </a:lnTo>
                  <a:lnTo>
                    <a:pt x="579" y="419"/>
                  </a:lnTo>
                  <a:lnTo>
                    <a:pt x="559" y="665"/>
                  </a:lnTo>
                  <a:lnTo>
                    <a:pt x="559" y="665"/>
                  </a:lnTo>
                  <a:lnTo>
                    <a:pt x="559" y="671"/>
                  </a:lnTo>
                  <a:lnTo>
                    <a:pt x="561" y="677"/>
                  </a:lnTo>
                  <a:lnTo>
                    <a:pt x="564" y="683"/>
                  </a:lnTo>
                  <a:lnTo>
                    <a:pt x="567" y="687"/>
                  </a:lnTo>
                  <a:lnTo>
                    <a:pt x="571" y="691"/>
                  </a:lnTo>
                  <a:lnTo>
                    <a:pt x="576" y="694"/>
                  </a:lnTo>
                  <a:lnTo>
                    <a:pt x="582" y="696"/>
                  </a:lnTo>
                  <a:lnTo>
                    <a:pt x="589" y="697"/>
                  </a:lnTo>
                  <a:lnTo>
                    <a:pt x="589" y="697"/>
                  </a:lnTo>
                  <a:lnTo>
                    <a:pt x="590" y="697"/>
                  </a:lnTo>
                  <a:lnTo>
                    <a:pt x="590" y="697"/>
                  </a:lnTo>
                  <a:lnTo>
                    <a:pt x="596" y="697"/>
                  </a:lnTo>
                  <a:lnTo>
                    <a:pt x="602" y="696"/>
                  </a:lnTo>
                  <a:lnTo>
                    <a:pt x="607" y="693"/>
                  </a:lnTo>
                  <a:lnTo>
                    <a:pt x="611" y="690"/>
                  </a:lnTo>
                  <a:lnTo>
                    <a:pt x="616" y="686"/>
                  </a:lnTo>
                  <a:lnTo>
                    <a:pt x="619" y="681"/>
                  </a:lnTo>
                  <a:lnTo>
                    <a:pt x="620" y="675"/>
                  </a:lnTo>
                  <a:lnTo>
                    <a:pt x="622" y="669"/>
                  </a:lnTo>
                  <a:lnTo>
                    <a:pt x="641" y="424"/>
                  </a:lnTo>
                  <a:lnTo>
                    <a:pt x="641" y="424"/>
                  </a:lnTo>
                  <a:lnTo>
                    <a:pt x="641" y="421"/>
                  </a:lnTo>
                  <a:lnTo>
                    <a:pt x="641" y="421"/>
                  </a:lnTo>
                  <a:lnTo>
                    <a:pt x="641" y="405"/>
                  </a:lnTo>
                  <a:lnTo>
                    <a:pt x="640" y="390"/>
                  </a:lnTo>
                  <a:lnTo>
                    <a:pt x="635" y="376"/>
                  </a:lnTo>
                  <a:lnTo>
                    <a:pt x="632" y="364"/>
                  </a:lnTo>
                  <a:lnTo>
                    <a:pt x="626" y="353"/>
                  </a:lnTo>
                  <a:lnTo>
                    <a:pt x="620" y="342"/>
                  </a:lnTo>
                  <a:lnTo>
                    <a:pt x="614" y="333"/>
                  </a:lnTo>
                  <a:lnTo>
                    <a:pt x="607" y="324"/>
                  </a:lnTo>
                  <a:lnTo>
                    <a:pt x="599" y="317"/>
                  </a:lnTo>
                  <a:lnTo>
                    <a:pt x="592" y="311"/>
                  </a:lnTo>
                  <a:lnTo>
                    <a:pt x="577" y="301"/>
                  </a:lnTo>
                  <a:lnTo>
                    <a:pt x="562" y="293"/>
                  </a:lnTo>
                  <a:lnTo>
                    <a:pt x="549" y="290"/>
                  </a:lnTo>
                  <a:lnTo>
                    <a:pt x="549" y="2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chemeClr val="bg1"/>
                </a:solidFill>
              </a:endParaRPr>
            </a:p>
          </p:txBody>
        </p:sp>
      </p:grpSp>
      <p:sp>
        <p:nvSpPr>
          <p:cNvPr id="55" name="Customer Engagement List"/>
          <p:cNvSpPr/>
          <p:nvPr/>
        </p:nvSpPr>
        <p:spPr>
          <a:xfrm>
            <a:off x="4788272" y="2637501"/>
            <a:ext cx="1848270" cy="443198"/>
          </a:xfrm>
          <a:prstGeom prst="rect">
            <a:avLst/>
          </a:prstGeom>
          <a:noFill/>
          <a:ln>
            <a:noFill/>
          </a:ln>
        </p:spPr>
        <p:txBody>
          <a:bodyPr wrap="square" lIns="89154" tIns="68580" rIns="68580" bIns="68580">
            <a:spAutoFit/>
          </a:bodyPr>
          <a:lstStyle/>
          <a:p>
            <a:pPr algn="ctr" defTabSz="914340">
              <a:lnSpc>
                <a:spcPct val="90000"/>
              </a:lnSpc>
            </a:pPr>
            <a:r>
              <a:rPr lang="en-US" sz="1100" kern="0" spc="50" dirty="0">
                <a:solidFill>
                  <a:schemeClr val="bg1"/>
                </a:solidFill>
                <a:ea typeface="Apex New Light" pitchFamily="50" charset="0"/>
                <a:cs typeface="TradeGothic Bold"/>
              </a:rPr>
              <a:t>Omni-channel ready &amp; customizable</a:t>
            </a:r>
          </a:p>
        </p:txBody>
      </p:sp>
      <p:grpSp>
        <p:nvGrpSpPr>
          <p:cNvPr id="41" name="Group 40"/>
          <p:cNvGrpSpPr/>
          <p:nvPr/>
        </p:nvGrpSpPr>
        <p:grpSpPr>
          <a:xfrm>
            <a:off x="5480507" y="2144976"/>
            <a:ext cx="438052" cy="424363"/>
            <a:chOff x="2419350" y="2173288"/>
            <a:chExt cx="355600" cy="344488"/>
          </a:xfrm>
          <a:solidFill>
            <a:schemeClr val="bg1"/>
          </a:solidFill>
        </p:grpSpPr>
        <p:sp>
          <p:nvSpPr>
            <p:cNvPr id="42" name="Freeform 63"/>
            <p:cNvSpPr>
              <a:spLocks/>
            </p:cNvSpPr>
            <p:nvPr/>
          </p:nvSpPr>
          <p:spPr bwMode="auto">
            <a:xfrm>
              <a:off x="2562225" y="2193926"/>
              <a:ext cx="177800" cy="122238"/>
            </a:xfrm>
            <a:custGeom>
              <a:avLst/>
              <a:gdLst>
                <a:gd name="T0" fmla="*/ 439 w 448"/>
                <a:gd name="T1" fmla="*/ 174 h 308"/>
                <a:gd name="T2" fmla="*/ 430 w 448"/>
                <a:gd name="T3" fmla="*/ 168 h 308"/>
                <a:gd name="T4" fmla="*/ 420 w 448"/>
                <a:gd name="T5" fmla="*/ 167 h 308"/>
                <a:gd name="T6" fmla="*/ 410 w 448"/>
                <a:gd name="T7" fmla="*/ 168 h 308"/>
                <a:gd name="T8" fmla="*/ 400 w 448"/>
                <a:gd name="T9" fmla="*/ 174 h 308"/>
                <a:gd name="T10" fmla="*/ 361 w 448"/>
                <a:gd name="T11" fmla="*/ 105 h 308"/>
                <a:gd name="T12" fmla="*/ 360 w 448"/>
                <a:gd name="T13" fmla="*/ 95 h 308"/>
                <a:gd name="T14" fmla="*/ 356 w 448"/>
                <a:gd name="T15" fmla="*/ 74 h 308"/>
                <a:gd name="T16" fmla="*/ 349 w 448"/>
                <a:gd name="T17" fmla="*/ 55 h 308"/>
                <a:gd name="T18" fmla="*/ 338 w 448"/>
                <a:gd name="T19" fmla="*/ 39 h 308"/>
                <a:gd name="T20" fmla="*/ 323 w 448"/>
                <a:gd name="T21" fmla="*/ 24 h 308"/>
                <a:gd name="T22" fmla="*/ 306 w 448"/>
                <a:gd name="T23" fmla="*/ 13 h 308"/>
                <a:gd name="T24" fmla="*/ 288 w 448"/>
                <a:gd name="T25" fmla="*/ 5 h 308"/>
                <a:gd name="T26" fmla="*/ 268 w 448"/>
                <a:gd name="T27" fmla="*/ 1 h 308"/>
                <a:gd name="T28" fmla="*/ 0 w 448"/>
                <a:gd name="T29" fmla="*/ 0 h 308"/>
                <a:gd name="T30" fmla="*/ 256 w 448"/>
                <a:gd name="T31" fmla="*/ 55 h 308"/>
                <a:gd name="T32" fmla="*/ 266 w 448"/>
                <a:gd name="T33" fmla="*/ 56 h 308"/>
                <a:gd name="T34" fmla="*/ 285 w 448"/>
                <a:gd name="T35" fmla="*/ 64 h 308"/>
                <a:gd name="T36" fmla="*/ 298 w 448"/>
                <a:gd name="T37" fmla="*/ 78 h 308"/>
                <a:gd name="T38" fmla="*/ 306 w 448"/>
                <a:gd name="T39" fmla="*/ 95 h 308"/>
                <a:gd name="T40" fmla="*/ 306 w 448"/>
                <a:gd name="T41" fmla="*/ 217 h 308"/>
                <a:gd name="T42" fmla="*/ 264 w 448"/>
                <a:gd name="T43" fmla="*/ 174 h 308"/>
                <a:gd name="T44" fmla="*/ 255 w 448"/>
                <a:gd name="T45" fmla="*/ 168 h 308"/>
                <a:gd name="T46" fmla="*/ 245 w 448"/>
                <a:gd name="T47" fmla="*/ 167 h 308"/>
                <a:gd name="T48" fmla="*/ 234 w 448"/>
                <a:gd name="T49" fmla="*/ 168 h 308"/>
                <a:gd name="T50" fmla="*/ 225 w 448"/>
                <a:gd name="T51" fmla="*/ 174 h 308"/>
                <a:gd name="T52" fmla="*/ 221 w 448"/>
                <a:gd name="T53" fmla="*/ 178 h 308"/>
                <a:gd name="T54" fmla="*/ 218 w 448"/>
                <a:gd name="T55" fmla="*/ 188 h 308"/>
                <a:gd name="T56" fmla="*/ 218 w 448"/>
                <a:gd name="T57" fmla="*/ 199 h 308"/>
                <a:gd name="T58" fmla="*/ 221 w 448"/>
                <a:gd name="T59" fmla="*/ 208 h 308"/>
                <a:gd name="T60" fmla="*/ 313 w 448"/>
                <a:gd name="T61" fmla="*/ 301 h 308"/>
                <a:gd name="T62" fmla="*/ 316 w 448"/>
                <a:gd name="T63" fmla="*/ 303 h 308"/>
                <a:gd name="T64" fmla="*/ 326 w 448"/>
                <a:gd name="T65" fmla="*/ 308 h 308"/>
                <a:gd name="T66" fmla="*/ 331 w 448"/>
                <a:gd name="T67" fmla="*/ 308 h 308"/>
                <a:gd name="T68" fmla="*/ 338 w 448"/>
                <a:gd name="T69" fmla="*/ 308 h 308"/>
                <a:gd name="T70" fmla="*/ 351 w 448"/>
                <a:gd name="T71" fmla="*/ 301 h 308"/>
                <a:gd name="T72" fmla="*/ 439 w 448"/>
                <a:gd name="T73" fmla="*/ 213 h 308"/>
                <a:gd name="T74" fmla="*/ 445 w 448"/>
                <a:gd name="T75" fmla="*/ 204 h 308"/>
                <a:gd name="T76" fmla="*/ 448 w 448"/>
                <a:gd name="T77" fmla="*/ 193 h 308"/>
                <a:gd name="T78" fmla="*/ 445 w 448"/>
                <a:gd name="T79" fmla="*/ 183 h 308"/>
                <a:gd name="T80" fmla="*/ 439 w 448"/>
                <a:gd name="T81" fmla="*/ 17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48" h="308">
                  <a:moveTo>
                    <a:pt x="439" y="174"/>
                  </a:moveTo>
                  <a:lnTo>
                    <a:pt x="439" y="174"/>
                  </a:lnTo>
                  <a:lnTo>
                    <a:pt x="435" y="170"/>
                  </a:lnTo>
                  <a:lnTo>
                    <a:pt x="430" y="168"/>
                  </a:lnTo>
                  <a:lnTo>
                    <a:pt x="425" y="167"/>
                  </a:lnTo>
                  <a:lnTo>
                    <a:pt x="420" y="167"/>
                  </a:lnTo>
                  <a:lnTo>
                    <a:pt x="415" y="167"/>
                  </a:lnTo>
                  <a:lnTo>
                    <a:pt x="410" y="168"/>
                  </a:lnTo>
                  <a:lnTo>
                    <a:pt x="405" y="170"/>
                  </a:lnTo>
                  <a:lnTo>
                    <a:pt x="400" y="174"/>
                  </a:lnTo>
                  <a:lnTo>
                    <a:pt x="361" y="214"/>
                  </a:lnTo>
                  <a:lnTo>
                    <a:pt x="361" y="105"/>
                  </a:lnTo>
                  <a:lnTo>
                    <a:pt x="361" y="105"/>
                  </a:lnTo>
                  <a:lnTo>
                    <a:pt x="360" y="95"/>
                  </a:lnTo>
                  <a:lnTo>
                    <a:pt x="359" y="84"/>
                  </a:lnTo>
                  <a:lnTo>
                    <a:pt x="356" y="74"/>
                  </a:lnTo>
                  <a:lnTo>
                    <a:pt x="353" y="64"/>
                  </a:lnTo>
                  <a:lnTo>
                    <a:pt x="349" y="55"/>
                  </a:lnTo>
                  <a:lnTo>
                    <a:pt x="344" y="46"/>
                  </a:lnTo>
                  <a:lnTo>
                    <a:pt x="338" y="39"/>
                  </a:lnTo>
                  <a:lnTo>
                    <a:pt x="330" y="31"/>
                  </a:lnTo>
                  <a:lnTo>
                    <a:pt x="323" y="24"/>
                  </a:lnTo>
                  <a:lnTo>
                    <a:pt x="315" y="19"/>
                  </a:lnTo>
                  <a:lnTo>
                    <a:pt x="306" y="13"/>
                  </a:lnTo>
                  <a:lnTo>
                    <a:pt x="298" y="9"/>
                  </a:lnTo>
                  <a:lnTo>
                    <a:pt x="288" y="5"/>
                  </a:lnTo>
                  <a:lnTo>
                    <a:pt x="278" y="3"/>
                  </a:lnTo>
                  <a:lnTo>
                    <a:pt x="268" y="1"/>
                  </a:lnTo>
                  <a:lnTo>
                    <a:pt x="256" y="0"/>
                  </a:lnTo>
                  <a:lnTo>
                    <a:pt x="0" y="0"/>
                  </a:lnTo>
                  <a:lnTo>
                    <a:pt x="0" y="55"/>
                  </a:lnTo>
                  <a:lnTo>
                    <a:pt x="256" y="55"/>
                  </a:lnTo>
                  <a:lnTo>
                    <a:pt x="256" y="55"/>
                  </a:lnTo>
                  <a:lnTo>
                    <a:pt x="266" y="56"/>
                  </a:lnTo>
                  <a:lnTo>
                    <a:pt x="276" y="59"/>
                  </a:lnTo>
                  <a:lnTo>
                    <a:pt x="285" y="64"/>
                  </a:lnTo>
                  <a:lnTo>
                    <a:pt x="293" y="70"/>
                  </a:lnTo>
                  <a:lnTo>
                    <a:pt x="298" y="78"/>
                  </a:lnTo>
                  <a:lnTo>
                    <a:pt x="303" y="85"/>
                  </a:lnTo>
                  <a:lnTo>
                    <a:pt x="306" y="95"/>
                  </a:lnTo>
                  <a:lnTo>
                    <a:pt x="306" y="105"/>
                  </a:lnTo>
                  <a:lnTo>
                    <a:pt x="306" y="217"/>
                  </a:lnTo>
                  <a:lnTo>
                    <a:pt x="264" y="174"/>
                  </a:lnTo>
                  <a:lnTo>
                    <a:pt x="264" y="174"/>
                  </a:lnTo>
                  <a:lnTo>
                    <a:pt x="260" y="170"/>
                  </a:lnTo>
                  <a:lnTo>
                    <a:pt x="255" y="168"/>
                  </a:lnTo>
                  <a:lnTo>
                    <a:pt x="250" y="167"/>
                  </a:lnTo>
                  <a:lnTo>
                    <a:pt x="245" y="167"/>
                  </a:lnTo>
                  <a:lnTo>
                    <a:pt x="239" y="167"/>
                  </a:lnTo>
                  <a:lnTo>
                    <a:pt x="234" y="168"/>
                  </a:lnTo>
                  <a:lnTo>
                    <a:pt x="230" y="170"/>
                  </a:lnTo>
                  <a:lnTo>
                    <a:pt x="225" y="174"/>
                  </a:lnTo>
                  <a:lnTo>
                    <a:pt x="225" y="174"/>
                  </a:lnTo>
                  <a:lnTo>
                    <a:pt x="221" y="178"/>
                  </a:lnTo>
                  <a:lnTo>
                    <a:pt x="219" y="183"/>
                  </a:lnTo>
                  <a:lnTo>
                    <a:pt x="218" y="188"/>
                  </a:lnTo>
                  <a:lnTo>
                    <a:pt x="218" y="193"/>
                  </a:lnTo>
                  <a:lnTo>
                    <a:pt x="218" y="199"/>
                  </a:lnTo>
                  <a:lnTo>
                    <a:pt x="219" y="204"/>
                  </a:lnTo>
                  <a:lnTo>
                    <a:pt x="221" y="208"/>
                  </a:lnTo>
                  <a:lnTo>
                    <a:pt x="225" y="213"/>
                  </a:lnTo>
                  <a:lnTo>
                    <a:pt x="313" y="301"/>
                  </a:lnTo>
                  <a:lnTo>
                    <a:pt x="313" y="301"/>
                  </a:lnTo>
                  <a:lnTo>
                    <a:pt x="316" y="303"/>
                  </a:lnTo>
                  <a:lnTo>
                    <a:pt x="321" y="306"/>
                  </a:lnTo>
                  <a:lnTo>
                    <a:pt x="326" y="308"/>
                  </a:lnTo>
                  <a:lnTo>
                    <a:pt x="331" y="308"/>
                  </a:lnTo>
                  <a:lnTo>
                    <a:pt x="331" y="308"/>
                  </a:lnTo>
                  <a:lnTo>
                    <a:pt x="338" y="308"/>
                  </a:lnTo>
                  <a:lnTo>
                    <a:pt x="338" y="308"/>
                  </a:lnTo>
                  <a:lnTo>
                    <a:pt x="345" y="306"/>
                  </a:lnTo>
                  <a:lnTo>
                    <a:pt x="351" y="301"/>
                  </a:lnTo>
                  <a:lnTo>
                    <a:pt x="439" y="213"/>
                  </a:lnTo>
                  <a:lnTo>
                    <a:pt x="439" y="213"/>
                  </a:lnTo>
                  <a:lnTo>
                    <a:pt x="443" y="208"/>
                  </a:lnTo>
                  <a:lnTo>
                    <a:pt x="445" y="204"/>
                  </a:lnTo>
                  <a:lnTo>
                    <a:pt x="447" y="199"/>
                  </a:lnTo>
                  <a:lnTo>
                    <a:pt x="448" y="193"/>
                  </a:lnTo>
                  <a:lnTo>
                    <a:pt x="447" y="188"/>
                  </a:lnTo>
                  <a:lnTo>
                    <a:pt x="445" y="183"/>
                  </a:lnTo>
                  <a:lnTo>
                    <a:pt x="443" y="178"/>
                  </a:lnTo>
                  <a:lnTo>
                    <a:pt x="439" y="174"/>
                  </a:lnTo>
                  <a:lnTo>
                    <a:pt x="439"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chemeClr val="bg1"/>
                </a:solidFill>
              </a:endParaRPr>
            </a:p>
          </p:txBody>
        </p:sp>
        <p:sp>
          <p:nvSpPr>
            <p:cNvPr id="43" name="Freeform 64"/>
            <p:cNvSpPr>
              <a:spLocks noEditPoints="1"/>
            </p:cNvSpPr>
            <p:nvPr/>
          </p:nvSpPr>
          <p:spPr bwMode="auto">
            <a:xfrm>
              <a:off x="2452688" y="2173288"/>
              <a:ext cx="88900" cy="90488"/>
            </a:xfrm>
            <a:custGeom>
              <a:avLst/>
              <a:gdLst>
                <a:gd name="T0" fmla="*/ 113 w 224"/>
                <a:gd name="T1" fmla="*/ 0 h 225"/>
                <a:gd name="T2" fmla="*/ 90 w 224"/>
                <a:gd name="T3" fmla="*/ 2 h 225"/>
                <a:gd name="T4" fmla="*/ 69 w 224"/>
                <a:gd name="T5" fmla="*/ 9 h 225"/>
                <a:gd name="T6" fmla="*/ 49 w 224"/>
                <a:gd name="T7" fmla="*/ 19 h 225"/>
                <a:gd name="T8" fmla="*/ 33 w 224"/>
                <a:gd name="T9" fmla="*/ 32 h 225"/>
                <a:gd name="T10" fmla="*/ 19 w 224"/>
                <a:gd name="T11" fmla="*/ 50 h 225"/>
                <a:gd name="T12" fmla="*/ 9 w 224"/>
                <a:gd name="T13" fmla="*/ 69 h 225"/>
                <a:gd name="T14" fmla="*/ 3 w 224"/>
                <a:gd name="T15" fmla="*/ 90 h 225"/>
                <a:gd name="T16" fmla="*/ 0 w 224"/>
                <a:gd name="T17" fmla="*/ 113 h 225"/>
                <a:gd name="T18" fmla="*/ 0 w 224"/>
                <a:gd name="T19" fmla="*/ 124 h 225"/>
                <a:gd name="T20" fmla="*/ 5 w 224"/>
                <a:gd name="T21" fmla="*/ 146 h 225"/>
                <a:gd name="T22" fmla="*/ 14 w 224"/>
                <a:gd name="T23" fmla="*/ 166 h 225"/>
                <a:gd name="T24" fmla="*/ 25 w 224"/>
                <a:gd name="T25" fmla="*/ 184 h 225"/>
                <a:gd name="T26" fmla="*/ 40 w 224"/>
                <a:gd name="T27" fmla="*/ 199 h 225"/>
                <a:gd name="T28" fmla="*/ 59 w 224"/>
                <a:gd name="T29" fmla="*/ 211 h 225"/>
                <a:gd name="T30" fmla="*/ 79 w 224"/>
                <a:gd name="T31" fmla="*/ 220 h 225"/>
                <a:gd name="T32" fmla="*/ 100 w 224"/>
                <a:gd name="T33" fmla="*/ 224 h 225"/>
                <a:gd name="T34" fmla="*/ 113 w 224"/>
                <a:gd name="T35" fmla="*/ 225 h 225"/>
                <a:gd name="T36" fmla="*/ 135 w 224"/>
                <a:gd name="T37" fmla="*/ 223 h 225"/>
                <a:gd name="T38" fmla="*/ 157 w 224"/>
                <a:gd name="T39" fmla="*/ 216 h 225"/>
                <a:gd name="T40" fmla="*/ 175 w 224"/>
                <a:gd name="T41" fmla="*/ 206 h 225"/>
                <a:gd name="T42" fmla="*/ 192 w 224"/>
                <a:gd name="T43" fmla="*/ 193 h 225"/>
                <a:gd name="T44" fmla="*/ 205 w 224"/>
                <a:gd name="T45" fmla="*/ 175 h 225"/>
                <a:gd name="T46" fmla="*/ 215 w 224"/>
                <a:gd name="T47" fmla="*/ 156 h 225"/>
                <a:gd name="T48" fmla="*/ 223 w 224"/>
                <a:gd name="T49" fmla="*/ 135 h 225"/>
                <a:gd name="T50" fmla="*/ 224 w 224"/>
                <a:gd name="T51" fmla="*/ 113 h 225"/>
                <a:gd name="T52" fmla="*/ 224 w 224"/>
                <a:gd name="T53" fmla="*/ 101 h 225"/>
                <a:gd name="T54" fmla="*/ 219 w 224"/>
                <a:gd name="T55" fmla="*/ 79 h 225"/>
                <a:gd name="T56" fmla="*/ 212 w 224"/>
                <a:gd name="T57" fmla="*/ 59 h 225"/>
                <a:gd name="T58" fmla="*/ 199 w 224"/>
                <a:gd name="T59" fmla="*/ 41 h 225"/>
                <a:gd name="T60" fmla="*/ 184 w 224"/>
                <a:gd name="T61" fmla="*/ 26 h 225"/>
                <a:gd name="T62" fmla="*/ 165 w 224"/>
                <a:gd name="T63" fmla="*/ 14 h 225"/>
                <a:gd name="T64" fmla="*/ 145 w 224"/>
                <a:gd name="T65" fmla="*/ 5 h 225"/>
                <a:gd name="T66" fmla="*/ 124 w 224"/>
                <a:gd name="T67" fmla="*/ 0 h 225"/>
                <a:gd name="T68" fmla="*/ 113 w 224"/>
                <a:gd name="T69" fmla="*/ 0 h 225"/>
                <a:gd name="T70" fmla="*/ 113 w 224"/>
                <a:gd name="T71" fmla="*/ 170 h 225"/>
                <a:gd name="T72" fmla="*/ 90 w 224"/>
                <a:gd name="T73" fmla="*/ 166 h 225"/>
                <a:gd name="T74" fmla="*/ 71 w 224"/>
                <a:gd name="T75" fmla="*/ 154 h 225"/>
                <a:gd name="T76" fmla="*/ 59 w 224"/>
                <a:gd name="T77" fmla="*/ 135 h 225"/>
                <a:gd name="T78" fmla="*/ 54 w 224"/>
                <a:gd name="T79" fmla="*/ 113 h 225"/>
                <a:gd name="T80" fmla="*/ 55 w 224"/>
                <a:gd name="T81" fmla="*/ 101 h 225"/>
                <a:gd name="T82" fmla="*/ 64 w 224"/>
                <a:gd name="T83" fmla="*/ 80 h 225"/>
                <a:gd name="T84" fmla="*/ 80 w 224"/>
                <a:gd name="T85" fmla="*/ 65 h 225"/>
                <a:gd name="T86" fmla="*/ 100 w 224"/>
                <a:gd name="T87" fmla="*/ 56 h 225"/>
                <a:gd name="T88" fmla="*/ 113 w 224"/>
                <a:gd name="T89" fmla="*/ 55 h 225"/>
                <a:gd name="T90" fmla="*/ 135 w 224"/>
                <a:gd name="T91" fmla="*/ 59 h 225"/>
                <a:gd name="T92" fmla="*/ 153 w 224"/>
                <a:gd name="T93" fmla="*/ 71 h 225"/>
                <a:gd name="T94" fmla="*/ 165 w 224"/>
                <a:gd name="T95" fmla="*/ 90 h 225"/>
                <a:gd name="T96" fmla="*/ 170 w 224"/>
                <a:gd name="T97" fmla="*/ 113 h 225"/>
                <a:gd name="T98" fmla="*/ 169 w 224"/>
                <a:gd name="T99" fmla="*/ 124 h 225"/>
                <a:gd name="T100" fmla="*/ 160 w 224"/>
                <a:gd name="T101" fmla="*/ 145 h 225"/>
                <a:gd name="T102" fmla="*/ 145 w 224"/>
                <a:gd name="T103" fmla="*/ 160 h 225"/>
                <a:gd name="T104" fmla="*/ 124 w 224"/>
                <a:gd name="T105" fmla="*/ 169 h 225"/>
                <a:gd name="T106" fmla="*/ 113 w 224"/>
                <a:gd name="T107" fmla="*/ 17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4" h="225">
                  <a:moveTo>
                    <a:pt x="113" y="0"/>
                  </a:moveTo>
                  <a:lnTo>
                    <a:pt x="113" y="0"/>
                  </a:lnTo>
                  <a:lnTo>
                    <a:pt x="100" y="0"/>
                  </a:lnTo>
                  <a:lnTo>
                    <a:pt x="90" y="2"/>
                  </a:lnTo>
                  <a:lnTo>
                    <a:pt x="79" y="5"/>
                  </a:lnTo>
                  <a:lnTo>
                    <a:pt x="69" y="9"/>
                  </a:lnTo>
                  <a:lnTo>
                    <a:pt x="59" y="14"/>
                  </a:lnTo>
                  <a:lnTo>
                    <a:pt x="49" y="19"/>
                  </a:lnTo>
                  <a:lnTo>
                    <a:pt x="40" y="26"/>
                  </a:lnTo>
                  <a:lnTo>
                    <a:pt x="33" y="32"/>
                  </a:lnTo>
                  <a:lnTo>
                    <a:pt x="25" y="41"/>
                  </a:lnTo>
                  <a:lnTo>
                    <a:pt x="19" y="50"/>
                  </a:lnTo>
                  <a:lnTo>
                    <a:pt x="14" y="59"/>
                  </a:lnTo>
                  <a:lnTo>
                    <a:pt x="9" y="69"/>
                  </a:lnTo>
                  <a:lnTo>
                    <a:pt x="5" y="79"/>
                  </a:lnTo>
                  <a:lnTo>
                    <a:pt x="3" y="90"/>
                  </a:lnTo>
                  <a:lnTo>
                    <a:pt x="0" y="101"/>
                  </a:lnTo>
                  <a:lnTo>
                    <a:pt x="0" y="113"/>
                  </a:lnTo>
                  <a:lnTo>
                    <a:pt x="0" y="113"/>
                  </a:lnTo>
                  <a:lnTo>
                    <a:pt x="0" y="124"/>
                  </a:lnTo>
                  <a:lnTo>
                    <a:pt x="3" y="135"/>
                  </a:lnTo>
                  <a:lnTo>
                    <a:pt x="5" y="146"/>
                  </a:lnTo>
                  <a:lnTo>
                    <a:pt x="9" y="156"/>
                  </a:lnTo>
                  <a:lnTo>
                    <a:pt x="14" y="166"/>
                  </a:lnTo>
                  <a:lnTo>
                    <a:pt x="19" y="175"/>
                  </a:lnTo>
                  <a:lnTo>
                    <a:pt x="25" y="184"/>
                  </a:lnTo>
                  <a:lnTo>
                    <a:pt x="33" y="193"/>
                  </a:lnTo>
                  <a:lnTo>
                    <a:pt x="40" y="199"/>
                  </a:lnTo>
                  <a:lnTo>
                    <a:pt x="49" y="206"/>
                  </a:lnTo>
                  <a:lnTo>
                    <a:pt x="59" y="211"/>
                  </a:lnTo>
                  <a:lnTo>
                    <a:pt x="69" y="216"/>
                  </a:lnTo>
                  <a:lnTo>
                    <a:pt x="79" y="220"/>
                  </a:lnTo>
                  <a:lnTo>
                    <a:pt x="90" y="223"/>
                  </a:lnTo>
                  <a:lnTo>
                    <a:pt x="100" y="224"/>
                  </a:lnTo>
                  <a:lnTo>
                    <a:pt x="113" y="225"/>
                  </a:lnTo>
                  <a:lnTo>
                    <a:pt x="113" y="225"/>
                  </a:lnTo>
                  <a:lnTo>
                    <a:pt x="124" y="224"/>
                  </a:lnTo>
                  <a:lnTo>
                    <a:pt x="135" y="223"/>
                  </a:lnTo>
                  <a:lnTo>
                    <a:pt x="145" y="220"/>
                  </a:lnTo>
                  <a:lnTo>
                    <a:pt x="157" y="216"/>
                  </a:lnTo>
                  <a:lnTo>
                    <a:pt x="165" y="211"/>
                  </a:lnTo>
                  <a:lnTo>
                    <a:pt x="175" y="206"/>
                  </a:lnTo>
                  <a:lnTo>
                    <a:pt x="184" y="199"/>
                  </a:lnTo>
                  <a:lnTo>
                    <a:pt x="192" y="193"/>
                  </a:lnTo>
                  <a:lnTo>
                    <a:pt x="199" y="184"/>
                  </a:lnTo>
                  <a:lnTo>
                    <a:pt x="205" y="175"/>
                  </a:lnTo>
                  <a:lnTo>
                    <a:pt x="212" y="166"/>
                  </a:lnTo>
                  <a:lnTo>
                    <a:pt x="215" y="156"/>
                  </a:lnTo>
                  <a:lnTo>
                    <a:pt x="219" y="146"/>
                  </a:lnTo>
                  <a:lnTo>
                    <a:pt x="223" y="135"/>
                  </a:lnTo>
                  <a:lnTo>
                    <a:pt x="224" y="124"/>
                  </a:lnTo>
                  <a:lnTo>
                    <a:pt x="224" y="113"/>
                  </a:lnTo>
                  <a:lnTo>
                    <a:pt x="224" y="113"/>
                  </a:lnTo>
                  <a:lnTo>
                    <a:pt x="224" y="101"/>
                  </a:lnTo>
                  <a:lnTo>
                    <a:pt x="223" y="90"/>
                  </a:lnTo>
                  <a:lnTo>
                    <a:pt x="219" y="79"/>
                  </a:lnTo>
                  <a:lnTo>
                    <a:pt x="215" y="69"/>
                  </a:lnTo>
                  <a:lnTo>
                    <a:pt x="212" y="59"/>
                  </a:lnTo>
                  <a:lnTo>
                    <a:pt x="205" y="50"/>
                  </a:lnTo>
                  <a:lnTo>
                    <a:pt x="199" y="41"/>
                  </a:lnTo>
                  <a:lnTo>
                    <a:pt x="192" y="32"/>
                  </a:lnTo>
                  <a:lnTo>
                    <a:pt x="184" y="26"/>
                  </a:lnTo>
                  <a:lnTo>
                    <a:pt x="175" y="19"/>
                  </a:lnTo>
                  <a:lnTo>
                    <a:pt x="165" y="14"/>
                  </a:lnTo>
                  <a:lnTo>
                    <a:pt x="157" y="9"/>
                  </a:lnTo>
                  <a:lnTo>
                    <a:pt x="145" y="5"/>
                  </a:lnTo>
                  <a:lnTo>
                    <a:pt x="135" y="2"/>
                  </a:lnTo>
                  <a:lnTo>
                    <a:pt x="124" y="0"/>
                  </a:lnTo>
                  <a:lnTo>
                    <a:pt x="113" y="0"/>
                  </a:lnTo>
                  <a:lnTo>
                    <a:pt x="113" y="0"/>
                  </a:lnTo>
                  <a:close/>
                  <a:moveTo>
                    <a:pt x="113" y="170"/>
                  </a:moveTo>
                  <a:lnTo>
                    <a:pt x="113" y="170"/>
                  </a:lnTo>
                  <a:lnTo>
                    <a:pt x="100" y="169"/>
                  </a:lnTo>
                  <a:lnTo>
                    <a:pt x="90" y="166"/>
                  </a:lnTo>
                  <a:lnTo>
                    <a:pt x="80" y="160"/>
                  </a:lnTo>
                  <a:lnTo>
                    <a:pt x="71" y="154"/>
                  </a:lnTo>
                  <a:lnTo>
                    <a:pt x="64" y="145"/>
                  </a:lnTo>
                  <a:lnTo>
                    <a:pt x="59" y="135"/>
                  </a:lnTo>
                  <a:lnTo>
                    <a:pt x="55" y="124"/>
                  </a:lnTo>
                  <a:lnTo>
                    <a:pt x="54" y="113"/>
                  </a:lnTo>
                  <a:lnTo>
                    <a:pt x="54" y="113"/>
                  </a:lnTo>
                  <a:lnTo>
                    <a:pt x="55" y="101"/>
                  </a:lnTo>
                  <a:lnTo>
                    <a:pt x="59" y="90"/>
                  </a:lnTo>
                  <a:lnTo>
                    <a:pt x="64" y="80"/>
                  </a:lnTo>
                  <a:lnTo>
                    <a:pt x="71" y="71"/>
                  </a:lnTo>
                  <a:lnTo>
                    <a:pt x="80" y="65"/>
                  </a:lnTo>
                  <a:lnTo>
                    <a:pt x="90" y="59"/>
                  </a:lnTo>
                  <a:lnTo>
                    <a:pt x="100" y="56"/>
                  </a:lnTo>
                  <a:lnTo>
                    <a:pt x="113" y="55"/>
                  </a:lnTo>
                  <a:lnTo>
                    <a:pt x="113" y="55"/>
                  </a:lnTo>
                  <a:lnTo>
                    <a:pt x="124" y="56"/>
                  </a:lnTo>
                  <a:lnTo>
                    <a:pt x="135" y="59"/>
                  </a:lnTo>
                  <a:lnTo>
                    <a:pt x="145" y="65"/>
                  </a:lnTo>
                  <a:lnTo>
                    <a:pt x="153" y="71"/>
                  </a:lnTo>
                  <a:lnTo>
                    <a:pt x="160" y="80"/>
                  </a:lnTo>
                  <a:lnTo>
                    <a:pt x="165" y="90"/>
                  </a:lnTo>
                  <a:lnTo>
                    <a:pt x="169" y="101"/>
                  </a:lnTo>
                  <a:lnTo>
                    <a:pt x="170" y="113"/>
                  </a:lnTo>
                  <a:lnTo>
                    <a:pt x="170" y="113"/>
                  </a:lnTo>
                  <a:lnTo>
                    <a:pt x="169" y="124"/>
                  </a:lnTo>
                  <a:lnTo>
                    <a:pt x="165" y="135"/>
                  </a:lnTo>
                  <a:lnTo>
                    <a:pt x="160" y="145"/>
                  </a:lnTo>
                  <a:lnTo>
                    <a:pt x="153" y="154"/>
                  </a:lnTo>
                  <a:lnTo>
                    <a:pt x="145" y="160"/>
                  </a:lnTo>
                  <a:lnTo>
                    <a:pt x="135" y="166"/>
                  </a:lnTo>
                  <a:lnTo>
                    <a:pt x="124" y="169"/>
                  </a:lnTo>
                  <a:lnTo>
                    <a:pt x="113" y="170"/>
                  </a:lnTo>
                  <a:lnTo>
                    <a:pt x="113"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chemeClr val="bg1"/>
                </a:solidFill>
              </a:endParaRPr>
            </a:p>
          </p:txBody>
        </p:sp>
        <p:sp>
          <p:nvSpPr>
            <p:cNvPr id="44" name="Freeform 65"/>
            <p:cNvSpPr>
              <a:spLocks noEditPoints="1"/>
            </p:cNvSpPr>
            <p:nvPr/>
          </p:nvSpPr>
          <p:spPr bwMode="auto">
            <a:xfrm>
              <a:off x="2651125" y="2336801"/>
              <a:ext cx="90488" cy="90488"/>
            </a:xfrm>
            <a:custGeom>
              <a:avLst/>
              <a:gdLst>
                <a:gd name="T0" fmla="*/ 112 w 225"/>
                <a:gd name="T1" fmla="*/ 0 h 225"/>
                <a:gd name="T2" fmla="*/ 90 w 225"/>
                <a:gd name="T3" fmla="*/ 2 h 225"/>
                <a:gd name="T4" fmla="*/ 69 w 225"/>
                <a:gd name="T5" fmla="*/ 10 h 225"/>
                <a:gd name="T6" fmla="*/ 50 w 225"/>
                <a:gd name="T7" fmla="*/ 20 h 225"/>
                <a:gd name="T8" fmla="*/ 34 w 225"/>
                <a:gd name="T9" fmla="*/ 33 h 225"/>
                <a:gd name="T10" fmla="*/ 20 w 225"/>
                <a:gd name="T11" fmla="*/ 50 h 225"/>
                <a:gd name="T12" fmla="*/ 9 w 225"/>
                <a:gd name="T13" fmla="*/ 68 h 225"/>
                <a:gd name="T14" fmla="*/ 2 w 225"/>
                <a:gd name="T15" fmla="*/ 90 h 225"/>
                <a:gd name="T16" fmla="*/ 0 w 225"/>
                <a:gd name="T17" fmla="*/ 112 h 225"/>
                <a:gd name="T18" fmla="*/ 1 w 225"/>
                <a:gd name="T19" fmla="*/ 125 h 225"/>
                <a:gd name="T20" fmla="*/ 5 w 225"/>
                <a:gd name="T21" fmla="*/ 146 h 225"/>
                <a:gd name="T22" fmla="*/ 14 w 225"/>
                <a:gd name="T23" fmla="*/ 166 h 225"/>
                <a:gd name="T24" fmla="*/ 26 w 225"/>
                <a:gd name="T25" fmla="*/ 185 h 225"/>
                <a:gd name="T26" fmla="*/ 41 w 225"/>
                <a:gd name="T27" fmla="*/ 200 h 225"/>
                <a:gd name="T28" fmla="*/ 59 w 225"/>
                <a:gd name="T29" fmla="*/ 212 h 225"/>
                <a:gd name="T30" fmla="*/ 79 w 225"/>
                <a:gd name="T31" fmla="*/ 220 h 225"/>
                <a:gd name="T32" fmla="*/ 101 w 225"/>
                <a:gd name="T33" fmla="*/ 225 h 225"/>
                <a:gd name="T34" fmla="*/ 112 w 225"/>
                <a:gd name="T35" fmla="*/ 225 h 225"/>
                <a:gd name="T36" fmla="*/ 135 w 225"/>
                <a:gd name="T37" fmla="*/ 224 h 225"/>
                <a:gd name="T38" fmla="*/ 156 w 225"/>
                <a:gd name="T39" fmla="*/ 216 h 225"/>
                <a:gd name="T40" fmla="*/ 175 w 225"/>
                <a:gd name="T41" fmla="*/ 206 h 225"/>
                <a:gd name="T42" fmla="*/ 193 w 225"/>
                <a:gd name="T43" fmla="*/ 192 h 225"/>
                <a:gd name="T44" fmla="*/ 206 w 225"/>
                <a:gd name="T45" fmla="*/ 176 h 225"/>
                <a:gd name="T46" fmla="*/ 216 w 225"/>
                <a:gd name="T47" fmla="*/ 156 h 225"/>
                <a:gd name="T48" fmla="*/ 223 w 225"/>
                <a:gd name="T49" fmla="*/ 136 h 225"/>
                <a:gd name="T50" fmla="*/ 225 w 225"/>
                <a:gd name="T51" fmla="*/ 112 h 225"/>
                <a:gd name="T52" fmla="*/ 225 w 225"/>
                <a:gd name="T53" fmla="*/ 101 h 225"/>
                <a:gd name="T54" fmla="*/ 220 w 225"/>
                <a:gd name="T55" fmla="*/ 80 h 225"/>
                <a:gd name="T56" fmla="*/ 211 w 225"/>
                <a:gd name="T57" fmla="*/ 60 h 225"/>
                <a:gd name="T58" fmla="*/ 200 w 225"/>
                <a:gd name="T59" fmla="*/ 41 h 225"/>
                <a:gd name="T60" fmla="*/ 184 w 225"/>
                <a:gd name="T61" fmla="*/ 26 h 225"/>
                <a:gd name="T62" fmla="*/ 166 w 225"/>
                <a:gd name="T63" fmla="*/ 13 h 225"/>
                <a:gd name="T64" fmla="*/ 146 w 225"/>
                <a:gd name="T65" fmla="*/ 6 h 225"/>
                <a:gd name="T66" fmla="*/ 124 w 225"/>
                <a:gd name="T67" fmla="*/ 1 h 225"/>
                <a:gd name="T68" fmla="*/ 112 w 225"/>
                <a:gd name="T69" fmla="*/ 0 h 225"/>
                <a:gd name="T70" fmla="*/ 112 w 225"/>
                <a:gd name="T71" fmla="*/ 171 h 225"/>
                <a:gd name="T72" fmla="*/ 90 w 225"/>
                <a:gd name="T73" fmla="*/ 166 h 225"/>
                <a:gd name="T74" fmla="*/ 71 w 225"/>
                <a:gd name="T75" fmla="*/ 154 h 225"/>
                <a:gd name="T76" fmla="*/ 59 w 225"/>
                <a:gd name="T77" fmla="*/ 135 h 225"/>
                <a:gd name="T78" fmla="*/ 55 w 225"/>
                <a:gd name="T79" fmla="*/ 112 h 225"/>
                <a:gd name="T80" fmla="*/ 56 w 225"/>
                <a:gd name="T81" fmla="*/ 101 h 225"/>
                <a:gd name="T82" fmla="*/ 65 w 225"/>
                <a:gd name="T83" fmla="*/ 81 h 225"/>
                <a:gd name="T84" fmla="*/ 80 w 225"/>
                <a:gd name="T85" fmla="*/ 65 h 225"/>
                <a:gd name="T86" fmla="*/ 101 w 225"/>
                <a:gd name="T87" fmla="*/ 56 h 225"/>
                <a:gd name="T88" fmla="*/ 112 w 225"/>
                <a:gd name="T89" fmla="*/ 55 h 225"/>
                <a:gd name="T90" fmla="*/ 135 w 225"/>
                <a:gd name="T91" fmla="*/ 60 h 225"/>
                <a:gd name="T92" fmla="*/ 154 w 225"/>
                <a:gd name="T93" fmla="*/ 72 h 225"/>
                <a:gd name="T94" fmla="*/ 166 w 225"/>
                <a:gd name="T95" fmla="*/ 90 h 225"/>
                <a:gd name="T96" fmla="*/ 170 w 225"/>
                <a:gd name="T97" fmla="*/ 112 h 225"/>
                <a:gd name="T98" fmla="*/ 170 w 225"/>
                <a:gd name="T99" fmla="*/ 125 h 225"/>
                <a:gd name="T100" fmla="*/ 161 w 225"/>
                <a:gd name="T101" fmla="*/ 145 h 225"/>
                <a:gd name="T102" fmla="*/ 145 w 225"/>
                <a:gd name="T103" fmla="*/ 161 h 225"/>
                <a:gd name="T104" fmla="*/ 125 w 225"/>
                <a:gd name="T105" fmla="*/ 170 h 225"/>
                <a:gd name="T106" fmla="*/ 112 w 225"/>
                <a:gd name="T107" fmla="*/ 17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5" h="225">
                  <a:moveTo>
                    <a:pt x="112" y="0"/>
                  </a:moveTo>
                  <a:lnTo>
                    <a:pt x="112" y="0"/>
                  </a:lnTo>
                  <a:lnTo>
                    <a:pt x="101" y="1"/>
                  </a:lnTo>
                  <a:lnTo>
                    <a:pt x="90" y="2"/>
                  </a:lnTo>
                  <a:lnTo>
                    <a:pt x="79" y="6"/>
                  </a:lnTo>
                  <a:lnTo>
                    <a:pt x="69" y="10"/>
                  </a:lnTo>
                  <a:lnTo>
                    <a:pt x="59" y="13"/>
                  </a:lnTo>
                  <a:lnTo>
                    <a:pt x="50" y="20"/>
                  </a:lnTo>
                  <a:lnTo>
                    <a:pt x="41" y="26"/>
                  </a:lnTo>
                  <a:lnTo>
                    <a:pt x="34" y="33"/>
                  </a:lnTo>
                  <a:lnTo>
                    <a:pt x="26" y="41"/>
                  </a:lnTo>
                  <a:lnTo>
                    <a:pt x="20" y="50"/>
                  </a:lnTo>
                  <a:lnTo>
                    <a:pt x="14" y="60"/>
                  </a:lnTo>
                  <a:lnTo>
                    <a:pt x="9" y="68"/>
                  </a:lnTo>
                  <a:lnTo>
                    <a:pt x="5" y="80"/>
                  </a:lnTo>
                  <a:lnTo>
                    <a:pt x="2" y="90"/>
                  </a:lnTo>
                  <a:lnTo>
                    <a:pt x="1" y="101"/>
                  </a:lnTo>
                  <a:lnTo>
                    <a:pt x="0" y="112"/>
                  </a:lnTo>
                  <a:lnTo>
                    <a:pt x="0" y="112"/>
                  </a:lnTo>
                  <a:lnTo>
                    <a:pt x="1" y="125"/>
                  </a:lnTo>
                  <a:lnTo>
                    <a:pt x="2" y="136"/>
                  </a:lnTo>
                  <a:lnTo>
                    <a:pt x="5" y="146"/>
                  </a:lnTo>
                  <a:lnTo>
                    <a:pt x="9" y="156"/>
                  </a:lnTo>
                  <a:lnTo>
                    <a:pt x="14" y="166"/>
                  </a:lnTo>
                  <a:lnTo>
                    <a:pt x="20" y="176"/>
                  </a:lnTo>
                  <a:lnTo>
                    <a:pt x="26" y="185"/>
                  </a:lnTo>
                  <a:lnTo>
                    <a:pt x="34" y="192"/>
                  </a:lnTo>
                  <a:lnTo>
                    <a:pt x="41" y="200"/>
                  </a:lnTo>
                  <a:lnTo>
                    <a:pt x="50" y="206"/>
                  </a:lnTo>
                  <a:lnTo>
                    <a:pt x="59" y="212"/>
                  </a:lnTo>
                  <a:lnTo>
                    <a:pt x="69" y="216"/>
                  </a:lnTo>
                  <a:lnTo>
                    <a:pt x="79" y="220"/>
                  </a:lnTo>
                  <a:lnTo>
                    <a:pt x="90" y="224"/>
                  </a:lnTo>
                  <a:lnTo>
                    <a:pt x="101" y="225"/>
                  </a:lnTo>
                  <a:lnTo>
                    <a:pt x="112" y="225"/>
                  </a:lnTo>
                  <a:lnTo>
                    <a:pt x="112" y="225"/>
                  </a:lnTo>
                  <a:lnTo>
                    <a:pt x="124" y="225"/>
                  </a:lnTo>
                  <a:lnTo>
                    <a:pt x="135" y="224"/>
                  </a:lnTo>
                  <a:lnTo>
                    <a:pt x="146" y="220"/>
                  </a:lnTo>
                  <a:lnTo>
                    <a:pt x="156" y="216"/>
                  </a:lnTo>
                  <a:lnTo>
                    <a:pt x="166" y="212"/>
                  </a:lnTo>
                  <a:lnTo>
                    <a:pt x="175" y="206"/>
                  </a:lnTo>
                  <a:lnTo>
                    <a:pt x="184" y="200"/>
                  </a:lnTo>
                  <a:lnTo>
                    <a:pt x="193" y="192"/>
                  </a:lnTo>
                  <a:lnTo>
                    <a:pt x="200" y="185"/>
                  </a:lnTo>
                  <a:lnTo>
                    <a:pt x="206" y="176"/>
                  </a:lnTo>
                  <a:lnTo>
                    <a:pt x="211" y="166"/>
                  </a:lnTo>
                  <a:lnTo>
                    <a:pt x="216" y="156"/>
                  </a:lnTo>
                  <a:lnTo>
                    <a:pt x="220" y="146"/>
                  </a:lnTo>
                  <a:lnTo>
                    <a:pt x="223" y="136"/>
                  </a:lnTo>
                  <a:lnTo>
                    <a:pt x="225" y="125"/>
                  </a:lnTo>
                  <a:lnTo>
                    <a:pt x="225" y="112"/>
                  </a:lnTo>
                  <a:lnTo>
                    <a:pt x="225" y="112"/>
                  </a:lnTo>
                  <a:lnTo>
                    <a:pt x="225" y="101"/>
                  </a:lnTo>
                  <a:lnTo>
                    <a:pt x="223" y="90"/>
                  </a:lnTo>
                  <a:lnTo>
                    <a:pt x="220" y="80"/>
                  </a:lnTo>
                  <a:lnTo>
                    <a:pt x="216" y="68"/>
                  </a:lnTo>
                  <a:lnTo>
                    <a:pt x="211" y="60"/>
                  </a:lnTo>
                  <a:lnTo>
                    <a:pt x="206" y="50"/>
                  </a:lnTo>
                  <a:lnTo>
                    <a:pt x="200" y="41"/>
                  </a:lnTo>
                  <a:lnTo>
                    <a:pt x="193" y="33"/>
                  </a:lnTo>
                  <a:lnTo>
                    <a:pt x="184" y="26"/>
                  </a:lnTo>
                  <a:lnTo>
                    <a:pt x="175" y="20"/>
                  </a:lnTo>
                  <a:lnTo>
                    <a:pt x="166" y="13"/>
                  </a:lnTo>
                  <a:lnTo>
                    <a:pt x="156" y="10"/>
                  </a:lnTo>
                  <a:lnTo>
                    <a:pt x="146" y="6"/>
                  </a:lnTo>
                  <a:lnTo>
                    <a:pt x="135" y="2"/>
                  </a:lnTo>
                  <a:lnTo>
                    <a:pt x="124" y="1"/>
                  </a:lnTo>
                  <a:lnTo>
                    <a:pt x="112" y="0"/>
                  </a:lnTo>
                  <a:lnTo>
                    <a:pt x="112" y="0"/>
                  </a:lnTo>
                  <a:close/>
                  <a:moveTo>
                    <a:pt x="112" y="171"/>
                  </a:moveTo>
                  <a:lnTo>
                    <a:pt x="112" y="171"/>
                  </a:lnTo>
                  <a:lnTo>
                    <a:pt x="101" y="170"/>
                  </a:lnTo>
                  <a:lnTo>
                    <a:pt x="90" y="166"/>
                  </a:lnTo>
                  <a:lnTo>
                    <a:pt x="80" y="161"/>
                  </a:lnTo>
                  <a:lnTo>
                    <a:pt x="71" y="154"/>
                  </a:lnTo>
                  <a:lnTo>
                    <a:pt x="65" y="145"/>
                  </a:lnTo>
                  <a:lnTo>
                    <a:pt x="59" y="135"/>
                  </a:lnTo>
                  <a:lnTo>
                    <a:pt x="56" y="125"/>
                  </a:lnTo>
                  <a:lnTo>
                    <a:pt x="55" y="112"/>
                  </a:lnTo>
                  <a:lnTo>
                    <a:pt x="55" y="112"/>
                  </a:lnTo>
                  <a:lnTo>
                    <a:pt x="56" y="101"/>
                  </a:lnTo>
                  <a:lnTo>
                    <a:pt x="59" y="90"/>
                  </a:lnTo>
                  <a:lnTo>
                    <a:pt x="65" y="81"/>
                  </a:lnTo>
                  <a:lnTo>
                    <a:pt x="71" y="72"/>
                  </a:lnTo>
                  <a:lnTo>
                    <a:pt x="80" y="65"/>
                  </a:lnTo>
                  <a:lnTo>
                    <a:pt x="90" y="60"/>
                  </a:lnTo>
                  <a:lnTo>
                    <a:pt x="101" y="56"/>
                  </a:lnTo>
                  <a:lnTo>
                    <a:pt x="112" y="55"/>
                  </a:lnTo>
                  <a:lnTo>
                    <a:pt x="112" y="55"/>
                  </a:lnTo>
                  <a:lnTo>
                    <a:pt x="125" y="56"/>
                  </a:lnTo>
                  <a:lnTo>
                    <a:pt x="135" y="60"/>
                  </a:lnTo>
                  <a:lnTo>
                    <a:pt x="145" y="65"/>
                  </a:lnTo>
                  <a:lnTo>
                    <a:pt x="154" y="72"/>
                  </a:lnTo>
                  <a:lnTo>
                    <a:pt x="161" y="81"/>
                  </a:lnTo>
                  <a:lnTo>
                    <a:pt x="166" y="90"/>
                  </a:lnTo>
                  <a:lnTo>
                    <a:pt x="170" y="101"/>
                  </a:lnTo>
                  <a:lnTo>
                    <a:pt x="170" y="112"/>
                  </a:lnTo>
                  <a:lnTo>
                    <a:pt x="170" y="112"/>
                  </a:lnTo>
                  <a:lnTo>
                    <a:pt x="170" y="125"/>
                  </a:lnTo>
                  <a:lnTo>
                    <a:pt x="166" y="135"/>
                  </a:lnTo>
                  <a:lnTo>
                    <a:pt x="161" y="145"/>
                  </a:lnTo>
                  <a:lnTo>
                    <a:pt x="154" y="154"/>
                  </a:lnTo>
                  <a:lnTo>
                    <a:pt x="145" y="161"/>
                  </a:lnTo>
                  <a:lnTo>
                    <a:pt x="135" y="166"/>
                  </a:lnTo>
                  <a:lnTo>
                    <a:pt x="125" y="170"/>
                  </a:lnTo>
                  <a:lnTo>
                    <a:pt x="112" y="171"/>
                  </a:lnTo>
                  <a:lnTo>
                    <a:pt x="112" y="1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chemeClr val="bg1"/>
                </a:solidFill>
              </a:endParaRPr>
            </a:p>
          </p:txBody>
        </p:sp>
        <p:sp>
          <p:nvSpPr>
            <p:cNvPr id="45" name="Freeform 66"/>
            <p:cNvSpPr>
              <a:spLocks/>
            </p:cNvSpPr>
            <p:nvPr/>
          </p:nvSpPr>
          <p:spPr bwMode="auto">
            <a:xfrm>
              <a:off x="2452688" y="2368551"/>
              <a:ext cx="144463" cy="133350"/>
            </a:xfrm>
            <a:custGeom>
              <a:avLst/>
              <a:gdLst>
                <a:gd name="T0" fmla="*/ 191 w 364"/>
                <a:gd name="T1" fmla="*/ 279 h 333"/>
                <a:gd name="T2" fmla="*/ 171 w 364"/>
                <a:gd name="T3" fmla="*/ 275 h 333"/>
                <a:gd name="T4" fmla="*/ 155 w 364"/>
                <a:gd name="T5" fmla="*/ 264 h 333"/>
                <a:gd name="T6" fmla="*/ 144 w 364"/>
                <a:gd name="T7" fmla="*/ 247 h 333"/>
                <a:gd name="T8" fmla="*/ 140 w 364"/>
                <a:gd name="T9" fmla="*/ 227 h 333"/>
                <a:gd name="T10" fmla="*/ 183 w 364"/>
                <a:gd name="T11" fmla="*/ 134 h 333"/>
                <a:gd name="T12" fmla="*/ 188 w 364"/>
                <a:gd name="T13" fmla="*/ 137 h 333"/>
                <a:gd name="T14" fmla="*/ 198 w 364"/>
                <a:gd name="T15" fmla="*/ 141 h 333"/>
                <a:gd name="T16" fmla="*/ 203 w 364"/>
                <a:gd name="T17" fmla="*/ 142 h 333"/>
                <a:gd name="T18" fmla="*/ 213 w 364"/>
                <a:gd name="T19" fmla="*/ 140 h 333"/>
                <a:gd name="T20" fmla="*/ 221 w 364"/>
                <a:gd name="T21" fmla="*/ 134 h 333"/>
                <a:gd name="T22" fmla="*/ 225 w 364"/>
                <a:gd name="T23" fmla="*/ 130 h 333"/>
                <a:gd name="T24" fmla="*/ 229 w 364"/>
                <a:gd name="T25" fmla="*/ 120 h 333"/>
                <a:gd name="T26" fmla="*/ 229 w 364"/>
                <a:gd name="T27" fmla="*/ 110 h 333"/>
                <a:gd name="T28" fmla="*/ 225 w 364"/>
                <a:gd name="T29" fmla="*/ 100 h 333"/>
                <a:gd name="T30" fmla="*/ 134 w 364"/>
                <a:gd name="T31" fmla="*/ 8 h 333"/>
                <a:gd name="T32" fmla="*/ 129 w 364"/>
                <a:gd name="T33" fmla="*/ 3 h 333"/>
                <a:gd name="T34" fmla="*/ 116 w 364"/>
                <a:gd name="T35" fmla="*/ 0 h 333"/>
                <a:gd name="T36" fmla="*/ 110 w 364"/>
                <a:gd name="T37" fmla="*/ 1 h 333"/>
                <a:gd name="T38" fmla="*/ 95 w 364"/>
                <a:gd name="T39" fmla="*/ 8 h 333"/>
                <a:gd name="T40" fmla="*/ 7 w 364"/>
                <a:gd name="T41" fmla="*/ 95 h 333"/>
                <a:gd name="T42" fmla="*/ 1 w 364"/>
                <a:gd name="T43" fmla="*/ 105 h 333"/>
                <a:gd name="T44" fmla="*/ 0 w 364"/>
                <a:gd name="T45" fmla="*/ 115 h 333"/>
                <a:gd name="T46" fmla="*/ 1 w 364"/>
                <a:gd name="T47" fmla="*/ 125 h 333"/>
                <a:gd name="T48" fmla="*/ 7 w 364"/>
                <a:gd name="T49" fmla="*/ 134 h 333"/>
                <a:gd name="T50" fmla="*/ 12 w 364"/>
                <a:gd name="T51" fmla="*/ 137 h 333"/>
                <a:gd name="T52" fmla="*/ 21 w 364"/>
                <a:gd name="T53" fmla="*/ 141 h 333"/>
                <a:gd name="T54" fmla="*/ 27 w 364"/>
                <a:gd name="T55" fmla="*/ 142 h 333"/>
                <a:gd name="T56" fmla="*/ 37 w 364"/>
                <a:gd name="T57" fmla="*/ 140 h 333"/>
                <a:gd name="T58" fmla="*/ 46 w 364"/>
                <a:gd name="T59" fmla="*/ 134 h 333"/>
                <a:gd name="T60" fmla="*/ 86 w 364"/>
                <a:gd name="T61" fmla="*/ 227 h 333"/>
                <a:gd name="T62" fmla="*/ 86 w 364"/>
                <a:gd name="T63" fmla="*/ 239 h 333"/>
                <a:gd name="T64" fmla="*/ 90 w 364"/>
                <a:gd name="T65" fmla="*/ 259 h 333"/>
                <a:gd name="T66" fmla="*/ 99 w 364"/>
                <a:gd name="T67" fmla="*/ 278 h 333"/>
                <a:gd name="T68" fmla="*/ 110 w 364"/>
                <a:gd name="T69" fmla="*/ 295 h 333"/>
                <a:gd name="T70" fmla="*/ 124 w 364"/>
                <a:gd name="T71" fmla="*/ 309 h 333"/>
                <a:gd name="T72" fmla="*/ 141 w 364"/>
                <a:gd name="T73" fmla="*/ 320 h 333"/>
                <a:gd name="T74" fmla="*/ 160 w 364"/>
                <a:gd name="T75" fmla="*/ 329 h 333"/>
                <a:gd name="T76" fmla="*/ 180 w 364"/>
                <a:gd name="T77" fmla="*/ 333 h 333"/>
                <a:gd name="T78" fmla="*/ 364 w 364"/>
                <a:gd name="T79" fmla="*/ 333 h 333"/>
                <a:gd name="T80" fmla="*/ 191 w 364"/>
                <a:gd name="T81" fmla="*/ 279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64" h="333">
                  <a:moveTo>
                    <a:pt x="191" y="279"/>
                  </a:moveTo>
                  <a:lnTo>
                    <a:pt x="191" y="279"/>
                  </a:lnTo>
                  <a:lnTo>
                    <a:pt x="180" y="278"/>
                  </a:lnTo>
                  <a:lnTo>
                    <a:pt x="171" y="275"/>
                  </a:lnTo>
                  <a:lnTo>
                    <a:pt x="163" y="270"/>
                  </a:lnTo>
                  <a:lnTo>
                    <a:pt x="155" y="264"/>
                  </a:lnTo>
                  <a:lnTo>
                    <a:pt x="149" y="256"/>
                  </a:lnTo>
                  <a:lnTo>
                    <a:pt x="144" y="247"/>
                  </a:lnTo>
                  <a:lnTo>
                    <a:pt x="141" y="239"/>
                  </a:lnTo>
                  <a:lnTo>
                    <a:pt x="140" y="227"/>
                  </a:lnTo>
                  <a:lnTo>
                    <a:pt x="140" y="91"/>
                  </a:lnTo>
                  <a:lnTo>
                    <a:pt x="183" y="134"/>
                  </a:lnTo>
                  <a:lnTo>
                    <a:pt x="183" y="134"/>
                  </a:lnTo>
                  <a:lnTo>
                    <a:pt x="188" y="137"/>
                  </a:lnTo>
                  <a:lnTo>
                    <a:pt x="193" y="140"/>
                  </a:lnTo>
                  <a:lnTo>
                    <a:pt x="198" y="141"/>
                  </a:lnTo>
                  <a:lnTo>
                    <a:pt x="203" y="142"/>
                  </a:lnTo>
                  <a:lnTo>
                    <a:pt x="203" y="142"/>
                  </a:lnTo>
                  <a:lnTo>
                    <a:pt x="208" y="141"/>
                  </a:lnTo>
                  <a:lnTo>
                    <a:pt x="213" y="140"/>
                  </a:lnTo>
                  <a:lnTo>
                    <a:pt x="218" y="137"/>
                  </a:lnTo>
                  <a:lnTo>
                    <a:pt x="221" y="134"/>
                  </a:lnTo>
                  <a:lnTo>
                    <a:pt x="221" y="134"/>
                  </a:lnTo>
                  <a:lnTo>
                    <a:pt x="225" y="130"/>
                  </a:lnTo>
                  <a:lnTo>
                    <a:pt x="228" y="125"/>
                  </a:lnTo>
                  <a:lnTo>
                    <a:pt x="229" y="120"/>
                  </a:lnTo>
                  <a:lnTo>
                    <a:pt x="230" y="115"/>
                  </a:lnTo>
                  <a:lnTo>
                    <a:pt x="229" y="110"/>
                  </a:lnTo>
                  <a:lnTo>
                    <a:pt x="228" y="105"/>
                  </a:lnTo>
                  <a:lnTo>
                    <a:pt x="225" y="100"/>
                  </a:lnTo>
                  <a:lnTo>
                    <a:pt x="221" y="95"/>
                  </a:lnTo>
                  <a:lnTo>
                    <a:pt x="134" y="8"/>
                  </a:lnTo>
                  <a:lnTo>
                    <a:pt x="134" y="8"/>
                  </a:lnTo>
                  <a:lnTo>
                    <a:pt x="129" y="3"/>
                  </a:lnTo>
                  <a:lnTo>
                    <a:pt x="123" y="1"/>
                  </a:lnTo>
                  <a:lnTo>
                    <a:pt x="116" y="0"/>
                  </a:lnTo>
                  <a:lnTo>
                    <a:pt x="110" y="1"/>
                  </a:lnTo>
                  <a:lnTo>
                    <a:pt x="110" y="1"/>
                  </a:lnTo>
                  <a:lnTo>
                    <a:pt x="103" y="3"/>
                  </a:lnTo>
                  <a:lnTo>
                    <a:pt x="95" y="8"/>
                  </a:lnTo>
                  <a:lnTo>
                    <a:pt x="7" y="95"/>
                  </a:lnTo>
                  <a:lnTo>
                    <a:pt x="7" y="95"/>
                  </a:lnTo>
                  <a:lnTo>
                    <a:pt x="4" y="100"/>
                  </a:lnTo>
                  <a:lnTo>
                    <a:pt x="1" y="105"/>
                  </a:lnTo>
                  <a:lnTo>
                    <a:pt x="0" y="110"/>
                  </a:lnTo>
                  <a:lnTo>
                    <a:pt x="0" y="115"/>
                  </a:lnTo>
                  <a:lnTo>
                    <a:pt x="0" y="120"/>
                  </a:lnTo>
                  <a:lnTo>
                    <a:pt x="1" y="125"/>
                  </a:lnTo>
                  <a:lnTo>
                    <a:pt x="4" y="130"/>
                  </a:lnTo>
                  <a:lnTo>
                    <a:pt x="7" y="134"/>
                  </a:lnTo>
                  <a:lnTo>
                    <a:pt x="7" y="134"/>
                  </a:lnTo>
                  <a:lnTo>
                    <a:pt x="12" y="137"/>
                  </a:lnTo>
                  <a:lnTo>
                    <a:pt x="16" y="140"/>
                  </a:lnTo>
                  <a:lnTo>
                    <a:pt x="21" y="141"/>
                  </a:lnTo>
                  <a:lnTo>
                    <a:pt x="27" y="142"/>
                  </a:lnTo>
                  <a:lnTo>
                    <a:pt x="27" y="142"/>
                  </a:lnTo>
                  <a:lnTo>
                    <a:pt x="32" y="141"/>
                  </a:lnTo>
                  <a:lnTo>
                    <a:pt x="37" y="140"/>
                  </a:lnTo>
                  <a:lnTo>
                    <a:pt x="42" y="137"/>
                  </a:lnTo>
                  <a:lnTo>
                    <a:pt x="46" y="134"/>
                  </a:lnTo>
                  <a:lnTo>
                    <a:pt x="86" y="95"/>
                  </a:lnTo>
                  <a:lnTo>
                    <a:pt x="86" y="227"/>
                  </a:lnTo>
                  <a:lnTo>
                    <a:pt x="86" y="227"/>
                  </a:lnTo>
                  <a:lnTo>
                    <a:pt x="86" y="239"/>
                  </a:lnTo>
                  <a:lnTo>
                    <a:pt x="88" y="249"/>
                  </a:lnTo>
                  <a:lnTo>
                    <a:pt x="90" y="259"/>
                  </a:lnTo>
                  <a:lnTo>
                    <a:pt x="94" y="269"/>
                  </a:lnTo>
                  <a:lnTo>
                    <a:pt x="99" y="278"/>
                  </a:lnTo>
                  <a:lnTo>
                    <a:pt x="104" y="286"/>
                  </a:lnTo>
                  <a:lnTo>
                    <a:pt x="110" y="295"/>
                  </a:lnTo>
                  <a:lnTo>
                    <a:pt x="116" y="303"/>
                  </a:lnTo>
                  <a:lnTo>
                    <a:pt x="124" y="309"/>
                  </a:lnTo>
                  <a:lnTo>
                    <a:pt x="133" y="315"/>
                  </a:lnTo>
                  <a:lnTo>
                    <a:pt x="141" y="320"/>
                  </a:lnTo>
                  <a:lnTo>
                    <a:pt x="150" y="325"/>
                  </a:lnTo>
                  <a:lnTo>
                    <a:pt x="160" y="329"/>
                  </a:lnTo>
                  <a:lnTo>
                    <a:pt x="170" y="331"/>
                  </a:lnTo>
                  <a:lnTo>
                    <a:pt x="180" y="333"/>
                  </a:lnTo>
                  <a:lnTo>
                    <a:pt x="191" y="333"/>
                  </a:lnTo>
                  <a:lnTo>
                    <a:pt x="364" y="333"/>
                  </a:lnTo>
                  <a:lnTo>
                    <a:pt x="364" y="279"/>
                  </a:lnTo>
                  <a:lnTo>
                    <a:pt x="191" y="2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chemeClr val="bg1"/>
                </a:solidFill>
              </a:endParaRPr>
            </a:p>
          </p:txBody>
        </p:sp>
        <p:sp>
          <p:nvSpPr>
            <p:cNvPr id="46" name="Freeform 67"/>
            <p:cNvSpPr>
              <a:spLocks/>
            </p:cNvSpPr>
            <p:nvPr/>
          </p:nvSpPr>
          <p:spPr bwMode="auto">
            <a:xfrm>
              <a:off x="2419350" y="2281238"/>
              <a:ext cx="157163" cy="73025"/>
            </a:xfrm>
            <a:custGeom>
              <a:avLst/>
              <a:gdLst>
                <a:gd name="T0" fmla="*/ 55 w 394"/>
                <a:gd name="T1" fmla="*/ 109 h 183"/>
                <a:gd name="T2" fmla="*/ 56 w 394"/>
                <a:gd name="T3" fmla="*/ 98 h 183"/>
                <a:gd name="T4" fmla="*/ 63 w 394"/>
                <a:gd name="T5" fmla="*/ 79 h 183"/>
                <a:gd name="T6" fmla="*/ 78 w 394"/>
                <a:gd name="T7" fmla="*/ 64 h 183"/>
                <a:gd name="T8" fmla="*/ 98 w 394"/>
                <a:gd name="T9" fmla="*/ 56 h 183"/>
                <a:gd name="T10" fmla="*/ 285 w 394"/>
                <a:gd name="T11" fmla="*/ 54 h 183"/>
                <a:gd name="T12" fmla="*/ 296 w 394"/>
                <a:gd name="T13" fmla="*/ 56 h 183"/>
                <a:gd name="T14" fmla="*/ 315 w 394"/>
                <a:gd name="T15" fmla="*/ 64 h 183"/>
                <a:gd name="T16" fmla="*/ 330 w 394"/>
                <a:gd name="T17" fmla="*/ 79 h 183"/>
                <a:gd name="T18" fmla="*/ 337 w 394"/>
                <a:gd name="T19" fmla="*/ 98 h 183"/>
                <a:gd name="T20" fmla="*/ 339 w 394"/>
                <a:gd name="T21" fmla="*/ 181 h 183"/>
                <a:gd name="T22" fmla="*/ 339 w 394"/>
                <a:gd name="T23" fmla="*/ 183 h 183"/>
                <a:gd name="T24" fmla="*/ 394 w 394"/>
                <a:gd name="T25" fmla="*/ 183 h 183"/>
                <a:gd name="T26" fmla="*/ 394 w 394"/>
                <a:gd name="T27" fmla="*/ 109 h 183"/>
                <a:gd name="T28" fmla="*/ 393 w 394"/>
                <a:gd name="T29" fmla="*/ 98 h 183"/>
                <a:gd name="T30" fmla="*/ 389 w 394"/>
                <a:gd name="T31" fmla="*/ 77 h 183"/>
                <a:gd name="T32" fmla="*/ 380 w 394"/>
                <a:gd name="T33" fmla="*/ 58 h 183"/>
                <a:gd name="T34" fmla="*/ 369 w 394"/>
                <a:gd name="T35" fmla="*/ 40 h 183"/>
                <a:gd name="T36" fmla="*/ 354 w 394"/>
                <a:gd name="T37" fmla="*/ 25 h 183"/>
                <a:gd name="T38" fmla="*/ 336 w 394"/>
                <a:gd name="T39" fmla="*/ 13 h 183"/>
                <a:gd name="T40" fmla="*/ 317 w 394"/>
                <a:gd name="T41" fmla="*/ 5 h 183"/>
                <a:gd name="T42" fmla="*/ 296 w 394"/>
                <a:gd name="T43" fmla="*/ 0 h 183"/>
                <a:gd name="T44" fmla="*/ 108 w 394"/>
                <a:gd name="T45" fmla="*/ 0 h 183"/>
                <a:gd name="T46" fmla="*/ 97 w 394"/>
                <a:gd name="T47" fmla="*/ 0 h 183"/>
                <a:gd name="T48" fmla="*/ 76 w 394"/>
                <a:gd name="T49" fmla="*/ 5 h 183"/>
                <a:gd name="T50" fmla="*/ 57 w 394"/>
                <a:gd name="T51" fmla="*/ 13 h 183"/>
                <a:gd name="T52" fmla="*/ 40 w 394"/>
                <a:gd name="T53" fmla="*/ 25 h 183"/>
                <a:gd name="T54" fmla="*/ 25 w 394"/>
                <a:gd name="T55" fmla="*/ 40 h 183"/>
                <a:gd name="T56" fmla="*/ 13 w 394"/>
                <a:gd name="T57" fmla="*/ 58 h 183"/>
                <a:gd name="T58" fmla="*/ 5 w 394"/>
                <a:gd name="T59" fmla="*/ 77 h 183"/>
                <a:gd name="T60" fmla="*/ 1 w 394"/>
                <a:gd name="T61" fmla="*/ 98 h 183"/>
                <a:gd name="T62" fmla="*/ 0 w 394"/>
                <a:gd name="T63" fmla="*/ 181 h 183"/>
                <a:gd name="T64" fmla="*/ 0 w 394"/>
                <a:gd name="T65" fmla="*/ 183 h 183"/>
                <a:gd name="T66" fmla="*/ 55 w 394"/>
                <a:gd name="T67" fmla="*/ 183 h 183"/>
                <a:gd name="T68" fmla="*/ 55 w 394"/>
                <a:gd name="T69" fmla="*/ 181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4" h="183">
                  <a:moveTo>
                    <a:pt x="55" y="181"/>
                  </a:moveTo>
                  <a:lnTo>
                    <a:pt x="55" y="109"/>
                  </a:lnTo>
                  <a:lnTo>
                    <a:pt x="55" y="109"/>
                  </a:lnTo>
                  <a:lnTo>
                    <a:pt x="56" y="98"/>
                  </a:lnTo>
                  <a:lnTo>
                    <a:pt x="58" y="88"/>
                  </a:lnTo>
                  <a:lnTo>
                    <a:pt x="63" y="79"/>
                  </a:lnTo>
                  <a:lnTo>
                    <a:pt x="71" y="71"/>
                  </a:lnTo>
                  <a:lnTo>
                    <a:pt x="78" y="64"/>
                  </a:lnTo>
                  <a:lnTo>
                    <a:pt x="87" y="59"/>
                  </a:lnTo>
                  <a:lnTo>
                    <a:pt x="98" y="56"/>
                  </a:lnTo>
                  <a:lnTo>
                    <a:pt x="108" y="54"/>
                  </a:lnTo>
                  <a:lnTo>
                    <a:pt x="285" y="54"/>
                  </a:lnTo>
                  <a:lnTo>
                    <a:pt x="285" y="54"/>
                  </a:lnTo>
                  <a:lnTo>
                    <a:pt x="296" y="56"/>
                  </a:lnTo>
                  <a:lnTo>
                    <a:pt x="306" y="59"/>
                  </a:lnTo>
                  <a:lnTo>
                    <a:pt x="315" y="64"/>
                  </a:lnTo>
                  <a:lnTo>
                    <a:pt x="324" y="71"/>
                  </a:lnTo>
                  <a:lnTo>
                    <a:pt x="330" y="79"/>
                  </a:lnTo>
                  <a:lnTo>
                    <a:pt x="335" y="88"/>
                  </a:lnTo>
                  <a:lnTo>
                    <a:pt x="337" y="98"/>
                  </a:lnTo>
                  <a:lnTo>
                    <a:pt x="339" y="109"/>
                  </a:lnTo>
                  <a:lnTo>
                    <a:pt x="339" y="181"/>
                  </a:lnTo>
                  <a:lnTo>
                    <a:pt x="339" y="181"/>
                  </a:lnTo>
                  <a:lnTo>
                    <a:pt x="339" y="183"/>
                  </a:lnTo>
                  <a:lnTo>
                    <a:pt x="394" y="183"/>
                  </a:lnTo>
                  <a:lnTo>
                    <a:pt x="394" y="183"/>
                  </a:lnTo>
                  <a:lnTo>
                    <a:pt x="394" y="181"/>
                  </a:lnTo>
                  <a:lnTo>
                    <a:pt x="394" y="109"/>
                  </a:lnTo>
                  <a:lnTo>
                    <a:pt x="394" y="109"/>
                  </a:lnTo>
                  <a:lnTo>
                    <a:pt x="393" y="98"/>
                  </a:lnTo>
                  <a:lnTo>
                    <a:pt x="391" y="88"/>
                  </a:lnTo>
                  <a:lnTo>
                    <a:pt x="389" y="77"/>
                  </a:lnTo>
                  <a:lnTo>
                    <a:pt x="385" y="67"/>
                  </a:lnTo>
                  <a:lnTo>
                    <a:pt x="380" y="58"/>
                  </a:lnTo>
                  <a:lnTo>
                    <a:pt x="375" y="48"/>
                  </a:lnTo>
                  <a:lnTo>
                    <a:pt x="369" y="40"/>
                  </a:lnTo>
                  <a:lnTo>
                    <a:pt x="361" y="33"/>
                  </a:lnTo>
                  <a:lnTo>
                    <a:pt x="354" y="25"/>
                  </a:lnTo>
                  <a:lnTo>
                    <a:pt x="345" y="19"/>
                  </a:lnTo>
                  <a:lnTo>
                    <a:pt x="336" y="13"/>
                  </a:lnTo>
                  <a:lnTo>
                    <a:pt x="327" y="9"/>
                  </a:lnTo>
                  <a:lnTo>
                    <a:pt x="317" y="5"/>
                  </a:lnTo>
                  <a:lnTo>
                    <a:pt x="306" y="3"/>
                  </a:lnTo>
                  <a:lnTo>
                    <a:pt x="296" y="0"/>
                  </a:lnTo>
                  <a:lnTo>
                    <a:pt x="285" y="0"/>
                  </a:lnTo>
                  <a:lnTo>
                    <a:pt x="108" y="0"/>
                  </a:lnTo>
                  <a:lnTo>
                    <a:pt x="108" y="0"/>
                  </a:lnTo>
                  <a:lnTo>
                    <a:pt x="97" y="0"/>
                  </a:lnTo>
                  <a:lnTo>
                    <a:pt x="87" y="3"/>
                  </a:lnTo>
                  <a:lnTo>
                    <a:pt x="76" y="5"/>
                  </a:lnTo>
                  <a:lnTo>
                    <a:pt x="66" y="9"/>
                  </a:lnTo>
                  <a:lnTo>
                    <a:pt x="57" y="13"/>
                  </a:lnTo>
                  <a:lnTo>
                    <a:pt x="48" y="19"/>
                  </a:lnTo>
                  <a:lnTo>
                    <a:pt x="40" y="25"/>
                  </a:lnTo>
                  <a:lnTo>
                    <a:pt x="32" y="33"/>
                  </a:lnTo>
                  <a:lnTo>
                    <a:pt x="25" y="40"/>
                  </a:lnTo>
                  <a:lnTo>
                    <a:pt x="18" y="48"/>
                  </a:lnTo>
                  <a:lnTo>
                    <a:pt x="13" y="58"/>
                  </a:lnTo>
                  <a:lnTo>
                    <a:pt x="8" y="67"/>
                  </a:lnTo>
                  <a:lnTo>
                    <a:pt x="5" y="77"/>
                  </a:lnTo>
                  <a:lnTo>
                    <a:pt x="2" y="88"/>
                  </a:lnTo>
                  <a:lnTo>
                    <a:pt x="1" y="98"/>
                  </a:lnTo>
                  <a:lnTo>
                    <a:pt x="0" y="109"/>
                  </a:lnTo>
                  <a:lnTo>
                    <a:pt x="0" y="181"/>
                  </a:lnTo>
                  <a:lnTo>
                    <a:pt x="0" y="181"/>
                  </a:lnTo>
                  <a:lnTo>
                    <a:pt x="0" y="183"/>
                  </a:lnTo>
                  <a:lnTo>
                    <a:pt x="55" y="183"/>
                  </a:lnTo>
                  <a:lnTo>
                    <a:pt x="55" y="183"/>
                  </a:lnTo>
                  <a:lnTo>
                    <a:pt x="55" y="181"/>
                  </a:lnTo>
                  <a:lnTo>
                    <a:pt x="55"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chemeClr val="bg1"/>
                </a:solidFill>
              </a:endParaRPr>
            </a:p>
          </p:txBody>
        </p:sp>
        <p:sp>
          <p:nvSpPr>
            <p:cNvPr id="47" name="Freeform 68"/>
            <p:cNvSpPr>
              <a:spLocks/>
            </p:cNvSpPr>
            <p:nvPr/>
          </p:nvSpPr>
          <p:spPr bwMode="auto">
            <a:xfrm>
              <a:off x="2619375" y="2444751"/>
              <a:ext cx="155575" cy="73025"/>
            </a:xfrm>
            <a:custGeom>
              <a:avLst/>
              <a:gdLst>
                <a:gd name="T0" fmla="*/ 54 w 393"/>
                <a:gd name="T1" fmla="*/ 109 h 182"/>
                <a:gd name="T2" fmla="*/ 55 w 393"/>
                <a:gd name="T3" fmla="*/ 99 h 182"/>
                <a:gd name="T4" fmla="*/ 64 w 393"/>
                <a:gd name="T5" fmla="*/ 79 h 182"/>
                <a:gd name="T6" fmla="*/ 79 w 393"/>
                <a:gd name="T7" fmla="*/ 64 h 182"/>
                <a:gd name="T8" fmla="*/ 98 w 393"/>
                <a:gd name="T9" fmla="*/ 56 h 182"/>
                <a:gd name="T10" fmla="*/ 285 w 393"/>
                <a:gd name="T11" fmla="*/ 55 h 182"/>
                <a:gd name="T12" fmla="*/ 296 w 393"/>
                <a:gd name="T13" fmla="*/ 56 h 182"/>
                <a:gd name="T14" fmla="*/ 316 w 393"/>
                <a:gd name="T15" fmla="*/ 64 h 182"/>
                <a:gd name="T16" fmla="*/ 330 w 393"/>
                <a:gd name="T17" fmla="*/ 79 h 182"/>
                <a:gd name="T18" fmla="*/ 338 w 393"/>
                <a:gd name="T19" fmla="*/ 99 h 182"/>
                <a:gd name="T20" fmla="*/ 340 w 393"/>
                <a:gd name="T21" fmla="*/ 182 h 182"/>
                <a:gd name="T22" fmla="*/ 340 w 393"/>
                <a:gd name="T23" fmla="*/ 182 h 182"/>
                <a:gd name="T24" fmla="*/ 393 w 393"/>
                <a:gd name="T25" fmla="*/ 182 h 182"/>
                <a:gd name="T26" fmla="*/ 393 w 393"/>
                <a:gd name="T27" fmla="*/ 109 h 182"/>
                <a:gd name="T28" fmla="*/ 393 w 393"/>
                <a:gd name="T29" fmla="*/ 99 h 182"/>
                <a:gd name="T30" fmla="*/ 390 w 393"/>
                <a:gd name="T31" fmla="*/ 78 h 182"/>
                <a:gd name="T32" fmla="*/ 381 w 393"/>
                <a:gd name="T33" fmla="*/ 58 h 182"/>
                <a:gd name="T34" fmla="*/ 368 w 393"/>
                <a:gd name="T35" fmla="*/ 40 h 182"/>
                <a:gd name="T36" fmla="*/ 355 w 393"/>
                <a:gd name="T37" fmla="*/ 25 h 182"/>
                <a:gd name="T38" fmla="*/ 337 w 393"/>
                <a:gd name="T39" fmla="*/ 14 h 182"/>
                <a:gd name="T40" fmla="*/ 317 w 393"/>
                <a:gd name="T41" fmla="*/ 5 h 182"/>
                <a:gd name="T42" fmla="*/ 296 w 393"/>
                <a:gd name="T43" fmla="*/ 1 h 182"/>
                <a:gd name="T44" fmla="*/ 109 w 393"/>
                <a:gd name="T45" fmla="*/ 0 h 182"/>
                <a:gd name="T46" fmla="*/ 98 w 393"/>
                <a:gd name="T47" fmla="*/ 1 h 182"/>
                <a:gd name="T48" fmla="*/ 77 w 393"/>
                <a:gd name="T49" fmla="*/ 5 h 182"/>
                <a:gd name="T50" fmla="*/ 57 w 393"/>
                <a:gd name="T51" fmla="*/ 14 h 182"/>
                <a:gd name="T52" fmla="*/ 40 w 393"/>
                <a:gd name="T53" fmla="*/ 25 h 182"/>
                <a:gd name="T54" fmla="*/ 25 w 393"/>
                <a:gd name="T55" fmla="*/ 40 h 182"/>
                <a:gd name="T56" fmla="*/ 13 w 393"/>
                <a:gd name="T57" fmla="*/ 58 h 182"/>
                <a:gd name="T58" fmla="*/ 5 w 393"/>
                <a:gd name="T59" fmla="*/ 78 h 182"/>
                <a:gd name="T60" fmla="*/ 0 w 393"/>
                <a:gd name="T61" fmla="*/ 99 h 182"/>
                <a:gd name="T62" fmla="*/ 0 w 393"/>
                <a:gd name="T63" fmla="*/ 182 h 182"/>
                <a:gd name="T64" fmla="*/ 0 w 393"/>
                <a:gd name="T65" fmla="*/ 182 h 182"/>
                <a:gd name="T66" fmla="*/ 54 w 393"/>
                <a:gd name="T67" fmla="*/ 182 h 182"/>
                <a:gd name="T68" fmla="*/ 54 w 393"/>
                <a:gd name="T69"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3" h="182">
                  <a:moveTo>
                    <a:pt x="54" y="182"/>
                  </a:moveTo>
                  <a:lnTo>
                    <a:pt x="54" y="109"/>
                  </a:lnTo>
                  <a:lnTo>
                    <a:pt x="54" y="109"/>
                  </a:lnTo>
                  <a:lnTo>
                    <a:pt x="55" y="99"/>
                  </a:lnTo>
                  <a:lnTo>
                    <a:pt x="59" y="89"/>
                  </a:lnTo>
                  <a:lnTo>
                    <a:pt x="64" y="79"/>
                  </a:lnTo>
                  <a:lnTo>
                    <a:pt x="71" y="72"/>
                  </a:lnTo>
                  <a:lnTo>
                    <a:pt x="79" y="64"/>
                  </a:lnTo>
                  <a:lnTo>
                    <a:pt x="88" y="59"/>
                  </a:lnTo>
                  <a:lnTo>
                    <a:pt x="98" y="56"/>
                  </a:lnTo>
                  <a:lnTo>
                    <a:pt x="109" y="55"/>
                  </a:lnTo>
                  <a:lnTo>
                    <a:pt x="285" y="55"/>
                  </a:lnTo>
                  <a:lnTo>
                    <a:pt x="285" y="55"/>
                  </a:lnTo>
                  <a:lnTo>
                    <a:pt x="296" y="56"/>
                  </a:lnTo>
                  <a:lnTo>
                    <a:pt x="306" y="59"/>
                  </a:lnTo>
                  <a:lnTo>
                    <a:pt x="316" y="64"/>
                  </a:lnTo>
                  <a:lnTo>
                    <a:pt x="323" y="72"/>
                  </a:lnTo>
                  <a:lnTo>
                    <a:pt x="330" y="79"/>
                  </a:lnTo>
                  <a:lnTo>
                    <a:pt x="335" y="89"/>
                  </a:lnTo>
                  <a:lnTo>
                    <a:pt x="338" y="99"/>
                  </a:lnTo>
                  <a:lnTo>
                    <a:pt x="340" y="109"/>
                  </a:lnTo>
                  <a:lnTo>
                    <a:pt x="340" y="182"/>
                  </a:lnTo>
                  <a:lnTo>
                    <a:pt x="340" y="182"/>
                  </a:lnTo>
                  <a:lnTo>
                    <a:pt x="340" y="182"/>
                  </a:lnTo>
                  <a:lnTo>
                    <a:pt x="393" y="182"/>
                  </a:lnTo>
                  <a:lnTo>
                    <a:pt x="393" y="182"/>
                  </a:lnTo>
                  <a:lnTo>
                    <a:pt x="393" y="182"/>
                  </a:lnTo>
                  <a:lnTo>
                    <a:pt x="393" y="109"/>
                  </a:lnTo>
                  <a:lnTo>
                    <a:pt x="393" y="109"/>
                  </a:lnTo>
                  <a:lnTo>
                    <a:pt x="393" y="99"/>
                  </a:lnTo>
                  <a:lnTo>
                    <a:pt x="392" y="88"/>
                  </a:lnTo>
                  <a:lnTo>
                    <a:pt x="390" y="78"/>
                  </a:lnTo>
                  <a:lnTo>
                    <a:pt x="386" y="68"/>
                  </a:lnTo>
                  <a:lnTo>
                    <a:pt x="381" y="58"/>
                  </a:lnTo>
                  <a:lnTo>
                    <a:pt x="376" y="49"/>
                  </a:lnTo>
                  <a:lnTo>
                    <a:pt x="368" y="40"/>
                  </a:lnTo>
                  <a:lnTo>
                    <a:pt x="362" y="33"/>
                  </a:lnTo>
                  <a:lnTo>
                    <a:pt x="355" y="25"/>
                  </a:lnTo>
                  <a:lnTo>
                    <a:pt x="346" y="19"/>
                  </a:lnTo>
                  <a:lnTo>
                    <a:pt x="337" y="14"/>
                  </a:lnTo>
                  <a:lnTo>
                    <a:pt x="327" y="9"/>
                  </a:lnTo>
                  <a:lnTo>
                    <a:pt x="317" y="5"/>
                  </a:lnTo>
                  <a:lnTo>
                    <a:pt x="307" y="3"/>
                  </a:lnTo>
                  <a:lnTo>
                    <a:pt x="296" y="1"/>
                  </a:lnTo>
                  <a:lnTo>
                    <a:pt x="285" y="0"/>
                  </a:lnTo>
                  <a:lnTo>
                    <a:pt x="109" y="0"/>
                  </a:lnTo>
                  <a:lnTo>
                    <a:pt x="109" y="0"/>
                  </a:lnTo>
                  <a:lnTo>
                    <a:pt x="98" y="1"/>
                  </a:lnTo>
                  <a:lnTo>
                    <a:pt x="87" y="3"/>
                  </a:lnTo>
                  <a:lnTo>
                    <a:pt x="77" y="5"/>
                  </a:lnTo>
                  <a:lnTo>
                    <a:pt x="67" y="9"/>
                  </a:lnTo>
                  <a:lnTo>
                    <a:pt x="57" y="14"/>
                  </a:lnTo>
                  <a:lnTo>
                    <a:pt x="48" y="19"/>
                  </a:lnTo>
                  <a:lnTo>
                    <a:pt x="40" y="25"/>
                  </a:lnTo>
                  <a:lnTo>
                    <a:pt x="32" y="33"/>
                  </a:lnTo>
                  <a:lnTo>
                    <a:pt x="25" y="40"/>
                  </a:lnTo>
                  <a:lnTo>
                    <a:pt x="19" y="49"/>
                  </a:lnTo>
                  <a:lnTo>
                    <a:pt x="13" y="58"/>
                  </a:lnTo>
                  <a:lnTo>
                    <a:pt x="9" y="68"/>
                  </a:lnTo>
                  <a:lnTo>
                    <a:pt x="5" y="78"/>
                  </a:lnTo>
                  <a:lnTo>
                    <a:pt x="3" y="88"/>
                  </a:lnTo>
                  <a:lnTo>
                    <a:pt x="0" y="99"/>
                  </a:lnTo>
                  <a:lnTo>
                    <a:pt x="0" y="109"/>
                  </a:lnTo>
                  <a:lnTo>
                    <a:pt x="0" y="182"/>
                  </a:lnTo>
                  <a:lnTo>
                    <a:pt x="0" y="182"/>
                  </a:lnTo>
                  <a:lnTo>
                    <a:pt x="0" y="182"/>
                  </a:lnTo>
                  <a:lnTo>
                    <a:pt x="54" y="182"/>
                  </a:lnTo>
                  <a:lnTo>
                    <a:pt x="54" y="182"/>
                  </a:lnTo>
                  <a:lnTo>
                    <a:pt x="54" y="182"/>
                  </a:lnTo>
                  <a:lnTo>
                    <a:pt x="54"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chemeClr val="bg1"/>
                </a:solidFill>
              </a:endParaRPr>
            </a:p>
          </p:txBody>
        </p:sp>
      </p:grpSp>
      <p:sp>
        <p:nvSpPr>
          <p:cNvPr id="40" name="org effectiveness list"/>
          <p:cNvSpPr/>
          <p:nvPr/>
        </p:nvSpPr>
        <p:spPr>
          <a:xfrm>
            <a:off x="3810580" y="3920018"/>
            <a:ext cx="1522841" cy="443198"/>
          </a:xfrm>
          <a:prstGeom prst="rect">
            <a:avLst/>
          </a:prstGeom>
          <a:noFill/>
          <a:ln>
            <a:noFill/>
          </a:ln>
        </p:spPr>
        <p:txBody>
          <a:bodyPr wrap="square" lIns="89154" tIns="68580" rIns="68580" bIns="68580">
            <a:spAutoFit/>
          </a:bodyPr>
          <a:lstStyle/>
          <a:p>
            <a:pPr algn="ctr" defTabSz="914340">
              <a:lnSpc>
                <a:spcPct val="90000"/>
              </a:lnSpc>
            </a:pPr>
            <a:r>
              <a:rPr lang="en-US" sz="1100" kern="0" spc="50" dirty="0">
                <a:solidFill>
                  <a:schemeClr val="bg1"/>
                </a:solidFill>
                <a:latin typeface="Arial"/>
                <a:ea typeface="Apex New Light" pitchFamily="50" charset="0"/>
                <a:cs typeface="TradeGothic Bold"/>
              </a:rPr>
              <a:t>Scalable &amp; Cloud Ready</a:t>
            </a:r>
          </a:p>
        </p:txBody>
      </p:sp>
      <p:grpSp>
        <p:nvGrpSpPr>
          <p:cNvPr id="48" name="Group 47"/>
          <p:cNvGrpSpPr/>
          <p:nvPr/>
        </p:nvGrpSpPr>
        <p:grpSpPr>
          <a:xfrm>
            <a:off x="4321760" y="3423217"/>
            <a:ext cx="500878" cy="430072"/>
            <a:chOff x="1902457" y="1548868"/>
            <a:chExt cx="391753" cy="336374"/>
          </a:xfrm>
          <a:solidFill>
            <a:schemeClr val="bg1"/>
          </a:solidFill>
        </p:grpSpPr>
        <p:sp>
          <p:nvSpPr>
            <p:cNvPr id="49" name="Freeform 349"/>
            <p:cNvSpPr>
              <a:spLocks/>
            </p:cNvSpPr>
            <p:nvPr/>
          </p:nvSpPr>
          <p:spPr bwMode="auto">
            <a:xfrm>
              <a:off x="1940402" y="1672957"/>
              <a:ext cx="314838" cy="90247"/>
            </a:xfrm>
            <a:custGeom>
              <a:avLst/>
              <a:gdLst>
                <a:gd name="T0" fmla="*/ 31 w 921"/>
                <a:gd name="T1" fmla="*/ 260 h 262"/>
                <a:gd name="T2" fmla="*/ 43 w 921"/>
                <a:gd name="T3" fmla="*/ 257 h 262"/>
                <a:gd name="T4" fmla="*/ 53 w 921"/>
                <a:gd name="T5" fmla="*/ 252 h 262"/>
                <a:gd name="T6" fmla="*/ 59 w 921"/>
                <a:gd name="T7" fmla="*/ 241 h 262"/>
                <a:gd name="T8" fmla="*/ 62 w 921"/>
                <a:gd name="T9" fmla="*/ 229 h 262"/>
                <a:gd name="T10" fmla="*/ 430 w 921"/>
                <a:gd name="T11" fmla="*/ 158 h 262"/>
                <a:gd name="T12" fmla="*/ 430 w 921"/>
                <a:gd name="T13" fmla="*/ 231 h 262"/>
                <a:gd name="T14" fmla="*/ 433 w 921"/>
                <a:gd name="T15" fmla="*/ 243 h 262"/>
                <a:gd name="T16" fmla="*/ 438 w 921"/>
                <a:gd name="T17" fmla="*/ 252 h 262"/>
                <a:gd name="T18" fmla="*/ 449 w 921"/>
                <a:gd name="T19" fmla="*/ 259 h 262"/>
                <a:gd name="T20" fmla="*/ 461 w 921"/>
                <a:gd name="T21" fmla="*/ 262 h 262"/>
                <a:gd name="T22" fmla="*/ 466 w 921"/>
                <a:gd name="T23" fmla="*/ 260 h 262"/>
                <a:gd name="T24" fmla="*/ 478 w 921"/>
                <a:gd name="T25" fmla="*/ 256 h 262"/>
                <a:gd name="T26" fmla="*/ 486 w 921"/>
                <a:gd name="T27" fmla="*/ 247 h 262"/>
                <a:gd name="T28" fmla="*/ 490 w 921"/>
                <a:gd name="T29" fmla="*/ 237 h 262"/>
                <a:gd name="T30" fmla="*/ 492 w 921"/>
                <a:gd name="T31" fmla="*/ 158 h 262"/>
                <a:gd name="T32" fmla="*/ 859 w 921"/>
                <a:gd name="T33" fmla="*/ 229 h 262"/>
                <a:gd name="T34" fmla="*/ 859 w 921"/>
                <a:gd name="T35" fmla="*/ 235 h 262"/>
                <a:gd name="T36" fmla="*/ 864 w 921"/>
                <a:gd name="T37" fmla="*/ 247 h 262"/>
                <a:gd name="T38" fmla="*/ 873 w 921"/>
                <a:gd name="T39" fmla="*/ 256 h 262"/>
                <a:gd name="T40" fmla="*/ 884 w 921"/>
                <a:gd name="T41" fmla="*/ 260 h 262"/>
                <a:gd name="T42" fmla="*/ 890 w 921"/>
                <a:gd name="T43" fmla="*/ 260 h 262"/>
                <a:gd name="T44" fmla="*/ 902 w 921"/>
                <a:gd name="T45" fmla="*/ 257 h 262"/>
                <a:gd name="T46" fmla="*/ 913 w 921"/>
                <a:gd name="T47" fmla="*/ 252 h 262"/>
                <a:gd name="T48" fmla="*/ 918 w 921"/>
                <a:gd name="T49" fmla="*/ 241 h 262"/>
                <a:gd name="T50" fmla="*/ 921 w 921"/>
                <a:gd name="T51" fmla="*/ 229 h 262"/>
                <a:gd name="T52" fmla="*/ 921 w 921"/>
                <a:gd name="T53" fmla="*/ 127 h 262"/>
                <a:gd name="T54" fmla="*/ 915 w 921"/>
                <a:gd name="T55" fmla="*/ 111 h 262"/>
                <a:gd name="T56" fmla="*/ 902 w 921"/>
                <a:gd name="T57" fmla="*/ 99 h 262"/>
                <a:gd name="T58" fmla="*/ 896 w 921"/>
                <a:gd name="T59" fmla="*/ 96 h 262"/>
                <a:gd name="T60" fmla="*/ 492 w 921"/>
                <a:gd name="T61" fmla="*/ 96 h 262"/>
                <a:gd name="T62" fmla="*/ 492 w 921"/>
                <a:gd name="T63" fmla="*/ 31 h 262"/>
                <a:gd name="T64" fmla="*/ 489 w 921"/>
                <a:gd name="T65" fmla="*/ 18 h 262"/>
                <a:gd name="T66" fmla="*/ 483 w 921"/>
                <a:gd name="T67" fmla="*/ 9 h 262"/>
                <a:gd name="T68" fmla="*/ 472 w 921"/>
                <a:gd name="T69" fmla="*/ 2 h 262"/>
                <a:gd name="T70" fmla="*/ 461 w 921"/>
                <a:gd name="T71" fmla="*/ 0 h 262"/>
                <a:gd name="T72" fmla="*/ 455 w 921"/>
                <a:gd name="T73" fmla="*/ 0 h 262"/>
                <a:gd name="T74" fmla="*/ 443 w 921"/>
                <a:gd name="T75" fmla="*/ 5 h 262"/>
                <a:gd name="T76" fmla="*/ 434 w 921"/>
                <a:gd name="T77" fmla="*/ 14 h 262"/>
                <a:gd name="T78" fmla="*/ 430 w 921"/>
                <a:gd name="T79" fmla="*/ 24 h 262"/>
                <a:gd name="T80" fmla="*/ 430 w 921"/>
                <a:gd name="T81" fmla="*/ 96 h 262"/>
                <a:gd name="T82" fmla="*/ 32 w 921"/>
                <a:gd name="T83" fmla="*/ 96 h 262"/>
                <a:gd name="T84" fmla="*/ 19 w 921"/>
                <a:gd name="T85" fmla="*/ 99 h 262"/>
                <a:gd name="T86" fmla="*/ 12 w 921"/>
                <a:gd name="T87" fmla="*/ 104 h 262"/>
                <a:gd name="T88" fmla="*/ 1 w 921"/>
                <a:gd name="T89" fmla="*/ 119 h 262"/>
                <a:gd name="T90" fmla="*/ 0 w 921"/>
                <a:gd name="T91" fmla="*/ 229 h 262"/>
                <a:gd name="T92" fmla="*/ 0 w 921"/>
                <a:gd name="T93" fmla="*/ 235 h 262"/>
                <a:gd name="T94" fmla="*/ 4 w 921"/>
                <a:gd name="T95" fmla="*/ 247 h 262"/>
                <a:gd name="T96" fmla="*/ 13 w 921"/>
                <a:gd name="T97" fmla="*/ 256 h 262"/>
                <a:gd name="T98" fmla="*/ 25 w 921"/>
                <a:gd name="T99" fmla="*/ 260 h 262"/>
                <a:gd name="T100" fmla="*/ 31 w 921"/>
                <a:gd name="T101" fmla="*/ 26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1" h="262">
                  <a:moveTo>
                    <a:pt x="31" y="260"/>
                  </a:moveTo>
                  <a:lnTo>
                    <a:pt x="31" y="260"/>
                  </a:lnTo>
                  <a:lnTo>
                    <a:pt x="37" y="260"/>
                  </a:lnTo>
                  <a:lnTo>
                    <a:pt x="43" y="257"/>
                  </a:lnTo>
                  <a:lnTo>
                    <a:pt x="49" y="256"/>
                  </a:lnTo>
                  <a:lnTo>
                    <a:pt x="53" y="252"/>
                  </a:lnTo>
                  <a:lnTo>
                    <a:pt x="56" y="247"/>
                  </a:lnTo>
                  <a:lnTo>
                    <a:pt x="59" y="241"/>
                  </a:lnTo>
                  <a:lnTo>
                    <a:pt x="60" y="235"/>
                  </a:lnTo>
                  <a:lnTo>
                    <a:pt x="62" y="229"/>
                  </a:lnTo>
                  <a:lnTo>
                    <a:pt x="62" y="158"/>
                  </a:lnTo>
                  <a:lnTo>
                    <a:pt x="430" y="158"/>
                  </a:lnTo>
                  <a:lnTo>
                    <a:pt x="430" y="231"/>
                  </a:lnTo>
                  <a:lnTo>
                    <a:pt x="430" y="231"/>
                  </a:lnTo>
                  <a:lnTo>
                    <a:pt x="430" y="237"/>
                  </a:lnTo>
                  <a:lnTo>
                    <a:pt x="433" y="243"/>
                  </a:lnTo>
                  <a:lnTo>
                    <a:pt x="434" y="247"/>
                  </a:lnTo>
                  <a:lnTo>
                    <a:pt x="438" y="252"/>
                  </a:lnTo>
                  <a:lnTo>
                    <a:pt x="443" y="256"/>
                  </a:lnTo>
                  <a:lnTo>
                    <a:pt x="449" y="259"/>
                  </a:lnTo>
                  <a:lnTo>
                    <a:pt x="455" y="260"/>
                  </a:lnTo>
                  <a:lnTo>
                    <a:pt x="461" y="262"/>
                  </a:lnTo>
                  <a:lnTo>
                    <a:pt x="461" y="262"/>
                  </a:lnTo>
                  <a:lnTo>
                    <a:pt x="466" y="260"/>
                  </a:lnTo>
                  <a:lnTo>
                    <a:pt x="472" y="259"/>
                  </a:lnTo>
                  <a:lnTo>
                    <a:pt x="478" y="256"/>
                  </a:lnTo>
                  <a:lnTo>
                    <a:pt x="483" y="252"/>
                  </a:lnTo>
                  <a:lnTo>
                    <a:pt x="486" y="247"/>
                  </a:lnTo>
                  <a:lnTo>
                    <a:pt x="489" y="243"/>
                  </a:lnTo>
                  <a:lnTo>
                    <a:pt x="490" y="237"/>
                  </a:lnTo>
                  <a:lnTo>
                    <a:pt x="492" y="231"/>
                  </a:lnTo>
                  <a:lnTo>
                    <a:pt x="492" y="158"/>
                  </a:lnTo>
                  <a:lnTo>
                    <a:pt x="859" y="158"/>
                  </a:lnTo>
                  <a:lnTo>
                    <a:pt x="859" y="229"/>
                  </a:lnTo>
                  <a:lnTo>
                    <a:pt x="859" y="229"/>
                  </a:lnTo>
                  <a:lnTo>
                    <a:pt x="859" y="235"/>
                  </a:lnTo>
                  <a:lnTo>
                    <a:pt x="861" y="241"/>
                  </a:lnTo>
                  <a:lnTo>
                    <a:pt x="864" y="247"/>
                  </a:lnTo>
                  <a:lnTo>
                    <a:pt x="868" y="252"/>
                  </a:lnTo>
                  <a:lnTo>
                    <a:pt x="873" y="256"/>
                  </a:lnTo>
                  <a:lnTo>
                    <a:pt x="879" y="257"/>
                  </a:lnTo>
                  <a:lnTo>
                    <a:pt x="884" y="260"/>
                  </a:lnTo>
                  <a:lnTo>
                    <a:pt x="890" y="260"/>
                  </a:lnTo>
                  <a:lnTo>
                    <a:pt x="890" y="260"/>
                  </a:lnTo>
                  <a:lnTo>
                    <a:pt x="896" y="260"/>
                  </a:lnTo>
                  <a:lnTo>
                    <a:pt x="902" y="257"/>
                  </a:lnTo>
                  <a:lnTo>
                    <a:pt x="908" y="256"/>
                  </a:lnTo>
                  <a:lnTo>
                    <a:pt x="913" y="252"/>
                  </a:lnTo>
                  <a:lnTo>
                    <a:pt x="915" y="247"/>
                  </a:lnTo>
                  <a:lnTo>
                    <a:pt x="918" y="241"/>
                  </a:lnTo>
                  <a:lnTo>
                    <a:pt x="920" y="235"/>
                  </a:lnTo>
                  <a:lnTo>
                    <a:pt x="921" y="229"/>
                  </a:lnTo>
                  <a:lnTo>
                    <a:pt x="921" y="127"/>
                  </a:lnTo>
                  <a:lnTo>
                    <a:pt x="921" y="127"/>
                  </a:lnTo>
                  <a:lnTo>
                    <a:pt x="920" y="119"/>
                  </a:lnTo>
                  <a:lnTo>
                    <a:pt x="915" y="111"/>
                  </a:lnTo>
                  <a:lnTo>
                    <a:pt x="910" y="104"/>
                  </a:lnTo>
                  <a:lnTo>
                    <a:pt x="902" y="99"/>
                  </a:lnTo>
                  <a:lnTo>
                    <a:pt x="902" y="99"/>
                  </a:lnTo>
                  <a:lnTo>
                    <a:pt x="896" y="96"/>
                  </a:lnTo>
                  <a:lnTo>
                    <a:pt x="889" y="96"/>
                  </a:lnTo>
                  <a:lnTo>
                    <a:pt x="492" y="96"/>
                  </a:lnTo>
                  <a:lnTo>
                    <a:pt x="492" y="31"/>
                  </a:lnTo>
                  <a:lnTo>
                    <a:pt x="492" y="31"/>
                  </a:lnTo>
                  <a:lnTo>
                    <a:pt x="490" y="24"/>
                  </a:lnTo>
                  <a:lnTo>
                    <a:pt x="489" y="18"/>
                  </a:lnTo>
                  <a:lnTo>
                    <a:pt x="486" y="14"/>
                  </a:lnTo>
                  <a:lnTo>
                    <a:pt x="483" y="9"/>
                  </a:lnTo>
                  <a:lnTo>
                    <a:pt x="478" y="5"/>
                  </a:lnTo>
                  <a:lnTo>
                    <a:pt x="472" y="2"/>
                  </a:lnTo>
                  <a:lnTo>
                    <a:pt x="466" y="0"/>
                  </a:lnTo>
                  <a:lnTo>
                    <a:pt x="461" y="0"/>
                  </a:lnTo>
                  <a:lnTo>
                    <a:pt x="461" y="0"/>
                  </a:lnTo>
                  <a:lnTo>
                    <a:pt x="455" y="0"/>
                  </a:lnTo>
                  <a:lnTo>
                    <a:pt x="449" y="2"/>
                  </a:lnTo>
                  <a:lnTo>
                    <a:pt x="443" y="5"/>
                  </a:lnTo>
                  <a:lnTo>
                    <a:pt x="438" y="9"/>
                  </a:lnTo>
                  <a:lnTo>
                    <a:pt x="434" y="14"/>
                  </a:lnTo>
                  <a:lnTo>
                    <a:pt x="433" y="18"/>
                  </a:lnTo>
                  <a:lnTo>
                    <a:pt x="430" y="24"/>
                  </a:lnTo>
                  <a:lnTo>
                    <a:pt x="430" y="31"/>
                  </a:lnTo>
                  <a:lnTo>
                    <a:pt x="430" y="96"/>
                  </a:lnTo>
                  <a:lnTo>
                    <a:pt x="32" y="96"/>
                  </a:lnTo>
                  <a:lnTo>
                    <a:pt x="32" y="96"/>
                  </a:lnTo>
                  <a:lnTo>
                    <a:pt x="25" y="96"/>
                  </a:lnTo>
                  <a:lnTo>
                    <a:pt x="19" y="99"/>
                  </a:lnTo>
                  <a:lnTo>
                    <a:pt x="19" y="99"/>
                  </a:lnTo>
                  <a:lnTo>
                    <a:pt x="12" y="104"/>
                  </a:lnTo>
                  <a:lnTo>
                    <a:pt x="6" y="111"/>
                  </a:lnTo>
                  <a:lnTo>
                    <a:pt x="1" y="119"/>
                  </a:lnTo>
                  <a:lnTo>
                    <a:pt x="0" y="127"/>
                  </a:lnTo>
                  <a:lnTo>
                    <a:pt x="0" y="229"/>
                  </a:lnTo>
                  <a:lnTo>
                    <a:pt x="0" y="229"/>
                  </a:lnTo>
                  <a:lnTo>
                    <a:pt x="0" y="235"/>
                  </a:lnTo>
                  <a:lnTo>
                    <a:pt x="3" y="241"/>
                  </a:lnTo>
                  <a:lnTo>
                    <a:pt x="4" y="247"/>
                  </a:lnTo>
                  <a:lnTo>
                    <a:pt x="9" y="252"/>
                  </a:lnTo>
                  <a:lnTo>
                    <a:pt x="13" y="256"/>
                  </a:lnTo>
                  <a:lnTo>
                    <a:pt x="19" y="257"/>
                  </a:lnTo>
                  <a:lnTo>
                    <a:pt x="25" y="260"/>
                  </a:lnTo>
                  <a:lnTo>
                    <a:pt x="31" y="260"/>
                  </a:lnTo>
                  <a:lnTo>
                    <a:pt x="31"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chemeClr val="bg1"/>
                </a:solidFill>
              </a:endParaRPr>
            </a:p>
          </p:txBody>
        </p:sp>
        <p:sp>
          <p:nvSpPr>
            <p:cNvPr id="50" name="Freeform 350"/>
            <p:cNvSpPr>
              <a:spLocks noEditPoints="1"/>
            </p:cNvSpPr>
            <p:nvPr/>
          </p:nvSpPr>
          <p:spPr bwMode="auto">
            <a:xfrm>
              <a:off x="2050134" y="1548868"/>
              <a:ext cx="96400" cy="96400"/>
            </a:xfrm>
            <a:custGeom>
              <a:avLst/>
              <a:gdLst>
                <a:gd name="T0" fmla="*/ 31 w 281"/>
                <a:gd name="T1" fmla="*/ 281 h 281"/>
                <a:gd name="T2" fmla="*/ 250 w 281"/>
                <a:gd name="T3" fmla="*/ 281 h 281"/>
                <a:gd name="T4" fmla="*/ 250 w 281"/>
                <a:gd name="T5" fmla="*/ 281 h 281"/>
                <a:gd name="T6" fmla="*/ 256 w 281"/>
                <a:gd name="T7" fmla="*/ 281 h 281"/>
                <a:gd name="T8" fmla="*/ 262 w 281"/>
                <a:gd name="T9" fmla="*/ 279 h 281"/>
                <a:gd name="T10" fmla="*/ 268 w 281"/>
                <a:gd name="T11" fmla="*/ 276 h 281"/>
                <a:gd name="T12" fmla="*/ 272 w 281"/>
                <a:gd name="T13" fmla="*/ 272 h 281"/>
                <a:gd name="T14" fmla="*/ 275 w 281"/>
                <a:gd name="T15" fmla="*/ 267 h 281"/>
                <a:gd name="T16" fmla="*/ 278 w 281"/>
                <a:gd name="T17" fmla="*/ 263 h 281"/>
                <a:gd name="T18" fmla="*/ 279 w 281"/>
                <a:gd name="T19" fmla="*/ 257 h 281"/>
                <a:gd name="T20" fmla="*/ 281 w 281"/>
                <a:gd name="T21" fmla="*/ 250 h 281"/>
                <a:gd name="T22" fmla="*/ 281 w 281"/>
                <a:gd name="T23" fmla="*/ 31 h 281"/>
                <a:gd name="T24" fmla="*/ 281 w 281"/>
                <a:gd name="T25" fmla="*/ 31 h 281"/>
                <a:gd name="T26" fmla="*/ 279 w 281"/>
                <a:gd name="T27" fmla="*/ 25 h 281"/>
                <a:gd name="T28" fmla="*/ 278 w 281"/>
                <a:gd name="T29" fmla="*/ 19 h 281"/>
                <a:gd name="T30" fmla="*/ 275 w 281"/>
                <a:gd name="T31" fmla="*/ 15 h 281"/>
                <a:gd name="T32" fmla="*/ 272 w 281"/>
                <a:gd name="T33" fmla="*/ 9 h 281"/>
                <a:gd name="T34" fmla="*/ 268 w 281"/>
                <a:gd name="T35" fmla="*/ 6 h 281"/>
                <a:gd name="T36" fmla="*/ 262 w 281"/>
                <a:gd name="T37" fmla="*/ 3 h 281"/>
                <a:gd name="T38" fmla="*/ 256 w 281"/>
                <a:gd name="T39" fmla="*/ 2 h 281"/>
                <a:gd name="T40" fmla="*/ 250 w 281"/>
                <a:gd name="T41" fmla="*/ 0 h 281"/>
                <a:gd name="T42" fmla="*/ 31 w 281"/>
                <a:gd name="T43" fmla="*/ 0 h 281"/>
                <a:gd name="T44" fmla="*/ 31 w 281"/>
                <a:gd name="T45" fmla="*/ 0 h 281"/>
                <a:gd name="T46" fmla="*/ 25 w 281"/>
                <a:gd name="T47" fmla="*/ 2 h 281"/>
                <a:gd name="T48" fmla="*/ 19 w 281"/>
                <a:gd name="T49" fmla="*/ 3 h 281"/>
                <a:gd name="T50" fmla="*/ 14 w 281"/>
                <a:gd name="T51" fmla="*/ 6 h 281"/>
                <a:gd name="T52" fmla="*/ 9 w 281"/>
                <a:gd name="T53" fmla="*/ 9 h 281"/>
                <a:gd name="T54" fmla="*/ 5 w 281"/>
                <a:gd name="T55" fmla="*/ 15 h 281"/>
                <a:gd name="T56" fmla="*/ 2 w 281"/>
                <a:gd name="T57" fmla="*/ 19 h 281"/>
                <a:gd name="T58" fmla="*/ 0 w 281"/>
                <a:gd name="T59" fmla="*/ 25 h 281"/>
                <a:gd name="T60" fmla="*/ 0 w 281"/>
                <a:gd name="T61" fmla="*/ 31 h 281"/>
                <a:gd name="T62" fmla="*/ 0 w 281"/>
                <a:gd name="T63" fmla="*/ 250 h 281"/>
                <a:gd name="T64" fmla="*/ 0 w 281"/>
                <a:gd name="T65" fmla="*/ 250 h 281"/>
                <a:gd name="T66" fmla="*/ 0 w 281"/>
                <a:gd name="T67" fmla="*/ 257 h 281"/>
                <a:gd name="T68" fmla="*/ 2 w 281"/>
                <a:gd name="T69" fmla="*/ 263 h 281"/>
                <a:gd name="T70" fmla="*/ 5 w 281"/>
                <a:gd name="T71" fmla="*/ 267 h 281"/>
                <a:gd name="T72" fmla="*/ 9 w 281"/>
                <a:gd name="T73" fmla="*/ 272 h 281"/>
                <a:gd name="T74" fmla="*/ 14 w 281"/>
                <a:gd name="T75" fmla="*/ 276 h 281"/>
                <a:gd name="T76" fmla="*/ 19 w 281"/>
                <a:gd name="T77" fmla="*/ 279 h 281"/>
                <a:gd name="T78" fmla="*/ 25 w 281"/>
                <a:gd name="T79" fmla="*/ 281 h 281"/>
                <a:gd name="T80" fmla="*/ 31 w 281"/>
                <a:gd name="T81" fmla="*/ 281 h 281"/>
                <a:gd name="T82" fmla="*/ 31 w 281"/>
                <a:gd name="T83" fmla="*/ 281 h 281"/>
                <a:gd name="T84" fmla="*/ 62 w 281"/>
                <a:gd name="T85" fmla="*/ 62 h 281"/>
                <a:gd name="T86" fmla="*/ 219 w 281"/>
                <a:gd name="T87" fmla="*/ 62 h 281"/>
                <a:gd name="T88" fmla="*/ 219 w 281"/>
                <a:gd name="T89" fmla="*/ 219 h 281"/>
                <a:gd name="T90" fmla="*/ 62 w 281"/>
                <a:gd name="T91" fmla="*/ 219 h 281"/>
                <a:gd name="T92" fmla="*/ 62 w 281"/>
                <a:gd name="T93" fmla="*/ 6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1" h="281">
                  <a:moveTo>
                    <a:pt x="31" y="281"/>
                  </a:moveTo>
                  <a:lnTo>
                    <a:pt x="250" y="281"/>
                  </a:lnTo>
                  <a:lnTo>
                    <a:pt x="250" y="281"/>
                  </a:lnTo>
                  <a:lnTo>
                    <a:pt x="256" y="281"/>
                  </a:lnTo>
                  <a:lnTo>
                    <a:pt x="262" y="279"/>
                  </a:lnTo>
                  <a:lnTo>
                    <a:pt x="268" y="276"/>
                  </a:lnTo>
                  <a:lnTo>
                    <a:pt x="272" y="272"/>
                  </a:lnTo>
                  <a:lnTo>
                    <a:pt x="275" y="267"/>
                  </a:lnTo>
                  <a:lnTo>
                    <a:pt x="278" y="263"/>
                  </a:lnTo>
                  <a:lnTo>
                    <a:pt x="279" y="257"/>
                  </a:lnTo>
                  <a:lnTo>
                    <a:pt x="281" y="250"/>
                  </a:lnTo>
                  <a:lnTo>
                    <a:pt x="281" y="31"/>
                  </a:lnTo>
                  <a:lnTo>
                    <a:pt x="281" y="31"/>
                  </a:lnTo>
                  <a:lnTo>
                    <a:pt x="279" y="25"/>
                  </a:lnTo>
                  <a:lnTo>
                    <a:pt x="278" y="19"/>
                  </a:lnTo>
                  <a:lnTo>
                    <a:pt x="275" y="15"/>
                  </a:lnTo>
                  <a:lnTo>
                    <a:pt x="272" y="9"/>
                  </a:lnTo>
                  <a:lnTo>
                    <a:pt x="268" y="6"/>
                  </a:lnTo>
                  <a:lnTo>
                    <a:pt x="262" y="3"/>
                  </a:lnTo>
                  <a:lnTo>
                    <a:pt x="256" y="2"/>
                  </a:lnTo>
                  <a:lnTo>
                    <a:pt x="250" y="0"/>
                  </a:lnTo>
                  <a:lnTo>
                    <a:pt x="31" y="0"/>
                  </a:lnTo>
                  <a:lnTo>
                    <a:pt x="31" y="0"/>
                  </a:lnTo>
                  <a:lnTo>
                    <a:pt x="25" y="2"/>
                  </a:lnTo>
                  <a:lnTo>
                    <a:pt x="19" y="3"/>
                  </a:lnTo>
                  <a:lnTo>
                    <a:pt x="14" y="6"/>
                  </a:lnTo>
                  <a:lnTo>
                    <a:pt x="9" y="9"/>
                  </a:lnTo>
                  <a:lnTo>
                    <a:pt x="5" y="15"/>
                  </a:lnTo>
                  <a:lnTo>
                    <a:pt x="2" y="19"/>
                  </a:lnTo>
                  <a:lnTo>
                    <a:pt x="0" y="25"/>
                  </a:lnTo>
                  <a:lnTo>
                    <a:pt x="0" y="31"/>
                  </a:lnTo>
                  <a:lnTo>
                    <a:pt x="0" y="250"/>
                  </a:lnTo>
                  <a:lnTo>
                    <a:pt x="0" y="250"/>
                  </a:lnTo>
                  <a:lnTo>
                    <a:pt x="0" y="257"/>
                  </a:lnTo>
                  <a:lnTo>
                    <a:pt x="2" y="263"/>
                  </a:lnTo>
                  <a:lnTo>
                    <a:pt x="5" y="267"/>
                  </a:lnTo>
                  <a:lnTo>
                    <a:pt x="9" y="272"/>
                  </a:lnTo>
                  <a:lnTo>
                    <a:pt x="14" y="276"/>
                  </a:lnTo>
                  <a:lnTo>
                    <a:pt x="19" y="279"/>
                  </a:lnTo>
                  <a:lnTo>
                    <a:pt x="25" y="281"/>
                  </a:lnTo>
                  <a:lnTo>
                    <a:pt x="31" y="281"/>
                  </a:lnTo>
                  <a:lnTo>
                    <a:pt x="31" y="281"/>
                  </a:lnTo>
                  <a:close/>
                  <a:moveTo>
                    <a:pt x="62" y="62"/>
                  </a:moveTo>
                  <a:lnTo>
                    <a:pt x="219" y="62"/>
                  </a:lnTo>
                  <a:lnTo>
                    <a:pt x="219" y="219"/>
                  </a:lnTo>
                  <a:lnTo>
                    <a:pt x="62" y="219"/>
                  </a:lnTo>
                  <a:lnTo>
                    <a:pt x="62"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chemeClr val="bg1"/>
                </a:solidFill>
              </a:endParaRPr>
            </a:p>
          </p:txBody>
        </p:sp>
        <p:sp>
          <p:nvSpPr>
            <p:cNvPr id="51" name="Freeform 351"/>
            <p:cNvSpPr>
              <a:spLocks noEditPoints="1"/>
            </p:cNvSpPr>
            <p:nvPr/>
          </p:nvSpPr>
          <p:spPr bwMode="auto">
            <a:xfrm>
              <a:off x="2050134" y="1788842"/>
              <a:ext cx="96400" cy="96400"/>
            </a:xfrm>
            <a:custGeom>
              <a:avLst/>
              <a:gdLst>
                <a:gd name="T0" fmla="*/ 250 w 281"/>
                <a:gd name="T1" fmla="*/ 0 h 280"/>
                <a:gd name="T2" fmla="*/ 31 w 281"/>
                <a:gd name="T3" fmla="*/ 0 h 280"/>
                <a:gd name="T4" fmla="*/ 31 w 281"/>
                <a:gd name="T5" fmla="*/ 0 h 280"/>
                <a:gd name="T6" fmla="*/ 25 w 281"/>
                <a:gd name="T7" fmla="*/ 0 h 280"/>
                <a:gd name="T8" fmla="*/ 19 w 281"/>
                <a:gd name="T9" fmla="*/ 3 h 280"/>
                <a:gd name="T10" fmla="*/ 14 w 281"/>
                <a:gd name="T11" fmla="*/ 4 h 280"/>
                <a:gd name="T12" fmla="*/ 9 w 281"/>
                <a:gd name="T13" fmla="*/ 9 h 280"/>
                <a:gd name="T14" fmla="*/ 5 w 281"/>
                <a:gd name="T15" fmla="*/ 13 h 280"/>
                <a:gd name="T16" fmla="*/ 2 w 281"/>
                <a:gd name="T17" fmla="*/ 19 h 280"/>
                <a:gd name="T18" fmla="*/ 0 w 281"/>
                <a:gd name="T19" fmla="*/ 25 h 280"/>
                <a:gd name="T20" fmla="*/ 0 w 281"/>
                <a:gd name="T21" fmla="*/ 31 h 280"/>
                <a:gd name="T22" fmla="*/ 0 w 281"/>
                <a:gd name="T23" fmla="*/ 249 h 280"/>
                <a:gd name="T24" fmla="*/ 0 w 281"/>
                <a:gd name="T25" fmla="*/ 249 h 280"/>
                <a:gd name="T26" fmla="*/ 0 w 281"/>
                <a:gd name="T27" fmla="*/ 255 h 280"/>
                <a:gd name="T28" fmla="*/ 2 w 281"/>
                <a:gd name="T29" fmla="*/ 261 h 280"/>
                <a:gd name="T30" fmla="*/ 5 w 281"/>
                <a:gd name="T31" fmla="*/ 267 h 280"/>
                <a:gd name="T32" fmla="*/ 9 w 281"/>
                <a:gd name="T33" fmla="*/ 272 h 280"/>
                <a:gd name="T34" fmla="*/ 14 w 281"/>
                <a:gd name="T35" fmla="*/ 274 h 280"/>
                <a:gd name="T36" fmla="*/ 19 w 281"/>
                <a:gd name="T37" fmla="*/ 277 h 280"/>
                <a:gd name="T38" fmla="*/ 25 w 281"/>
                <a:gd name="T39" fmla="*/ 280 h 280"/>
                <a:gd name="T40" fmla="*/ 31 w 281"/>
                <a:gd name="T41" fmla="*/ 280 h 280"/>
                <a:gd name="T42" fmla="*/ 250 w 281"/>
                <a:gd name="T43" fmla="*/ 280 h 280"/>
                <a:gd name="T44" fmla="*/ 250 w 281"/>
                <a:gd name="T45" fmla="*/ 280 h 280"/>
                <a:gd name="T46" fmla="*/ 256 w 281"/>
                <a:gd name="T47" fmla="*/ 280 h 280"/>
                <a:gd name="T48" fmla="*/ 262 w 281"/>
                <a:gd name="T49" fmla="*/ 277 h 280"/>
                <a:gd name="T50" fmla="*/ 268 w 281"/>
                <a:gd name="T51" fmla="*/ 274 h 280"/>
                <a:gd name="T52" fmla="*/ 272 w 281"/>
                <a:gd name="T53" fmla="*/ 272 h 280"/>
                <a:gd name="T54" fmla="*/ 275 w 281"/>
                <a:gd name="T55" fmla="*/ 267 h 280"/>
                <a:gd name="T56" fmla="*/ 278 w 281"/>
                <a:gd name="T57" fmla="*/ 261 h 280"/>
                <a:gd name="T58" fmla="*/ 281 w 281"/>
                <a:gd name="T59" fmla="*/ 255 h 280"/>
                <a:gd name="T60" fmla="*/ 281 w 281"/>
                <a:gd name="T61" fmla="*/ 249 h 280"/>
                <a:gd name="T62" fmla="*/ 281 w 281"/>
                <a:gd name="T63" fmla="*/ 31 h 280"/>
                <a:gd name="T64" fmla="*/ 281 w 281"/>
                <a:gd name="T65" fmla="*/ 31 h 280"/>
                <a:gd name="T66" fmla="*/ 281 w 281"/>
                <a:gd name="T67" fmla="*/ 25 h 280"/>
                <a:gd name="T68" fmla="*/ 278 w 281"/>
                <a:gd name="T69" fmla="*/ 19 h 280"/>
                <a:gd name="T70" fmla="*/ 275 w 281"/>
                <a:gd name="T71" fmla="*/ 13 h 280"/>
                <a:gd name="T72" fmla="*/ 272 w 281"/>
                <a:gd name="T73" fmla="*/ 9 h 280"/>
                <a:gd name="T74" fmla="*/ 268 w 281"/>
                <a:gd name="T75" fmla="*/ 4 h 280"/>
                <a:gd name="T76" fmla="*/ 262 w 281"/>
                <a:gd name="T77" fmla="*/ 3 h 280"/>
                <a:gd name="T78" fmla="*/ 256 w 281"/>
                <a:gd name="T79" fmla="*/ 0 h 280"/>
                <a:gd name="T80" fmla="*/ 250 w 281"/>
                <a:gd name="T81" fmla="*/ 0 h 280"/>
                <a:gd name="T82" fmla="*/ 250 w 281"/>
                <a:gd name="T83" fmla="*/ 0 h 280"/>
                <a:gd name="T84" fmla="*/ 219 w 281"/>
                <a:gd name="T85" fmla="*/ 218 h 280"/>
                <a:gd name="T86" fmla="*/ 62 w 281"/>
                <a:gd name="T87" fmla="*/ 218 h 280"/>
                <a:gd name="T88" fmla="*/ 62 w 281"/>
                <a:gd name="T89" fmla="*/ 62 h 280"/>
                <a:gd name="T90" fmla="*/ 219 w 281"/>
                <a:gd name="T91" fmla="*/ 62 h 280"/>
                <a:gd name="T92" fmla="*/ 219 w 281"/>
                <a:gd name="T93" fmla="*/ 21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1" h="280">
                  <a:moveTo>
                    <a:pt x="250" y="0"/>
                  </a:moveTo>
                  <a:lnTo>
                    <a:pt x="31" y="0"/>
                  </a:lnTo>
                  <a:lnTo>
                    <a:pt x="31" y="0"/>
                  </a:lnTo>
                  <a:lnTo>
                    <a:pt x="25" y="0"/>
                  </a:lnTo>
                  <a:lnTo>
                    <a:pt x="19" y="3"/>
                  </a:lnTo>
                  <a:lnTo>
                    <a:pt x="14" y="4"/>
                  </a:lnTo>
                  <a:lnTo>
                    <a:pt x="9" y="9"/>
                  </a:lnTo>
                  <a:lnTo>
                    <a:pt x="5" y="13"/>
                  </a:lnTo>
                  <a:lnTo>
                    <a:pt x="2" y="19"/>
                  </a:lnTo>
                  <a:lnTo>
                    <a:pt x="0" y="25"/>
                  </a:lnTo>
                  <a:lnTo>
                    <a:pt x="0" y="31"/>
                  </a:lnTo>
                  <a:lnTo>
                    <a:pt x="0" y="249"/>
                  </a:lnTo>
                  <a:lnTo>
                    <a:pt x="0" y="249"/>
                  </a:lnTo>
                  <a:lnTo>
                    <a:pt x="0" y="255"/>
                  </a:lnTo>
                  <a:lnTo>
                    <a:pt x="2" y="261"/>
                  </a:lnTo>
                  <a:lnTo>
                    <a:pt x="5" y="267"/>
                  </a:lnTo>
                  <a:lnTo>
                    <a:pt x="9" y="272"/>
                  </a:lnTo>
                  <a:lnTo>
                    <a:pt x="14" y="274"/>
                  </a:lnTo>
                  <a:lnTo>
                    <a:pt x="19" y="277"/>
                  </a:lnTo>
                  <a:lnTo>
                    <a:pt x="25" y="280"/>
                  </a:lnTo>
                  <a:lnTo>
                    <a:pt x="31" y="280"/>
                  </a:lnTo>
                  <a:lnTo>
                    <a:pt x="250" y="280"/>
                  </a:lnTo>
                  <a:lnTo>
                    <a:pt x="250" y="280"/>
                  </a:lnTo>
                  <a:lnTo>
                    <a:pt x="256" y="280"/>
                  </a:lnTo>
                  <a:lnTo>
                    <a:pt x="262" y="277"/>
                  </a:lnTo>
                  <a:lnTo>
                    <a:pt x="268" y="274"/>
                  </a:lnTo>
                  <a:lnTo>
                    <a:pt x="272" y="272"/>
                  </a:lnTo>
                  <a:lnTo>
                    <a:pt x="275" y="267"/>
                  </a:lnTo>
                  <a:lnTo>
                    <a:pt x="278" y="261"/>
                  </a:lnTo>
                  <a:lnTo>
                    <a:pt x="281" y="255"/>
                  </a:lnTo>
                  <a:lnTo>
                    <a:pt x="281" y="249"/>
                  </a:lnTo>
                  <a:lnTo>
                    <a:pt x="281" y="31"/>
                  </a:lnTo>
                  <a:lnTo>
                    <a:pt x="281" y="31"/>
                  </a:lnTo>
                  <a:lnTo>
                    <a:pt x="281" y="25"/>
                  </a:lnTo>
                  <a:lnTo>
                    <a:pt x="278" y="19"/>
                  </a:lnTo>
                  <a:lnTo>
                    <a:pt x="275" y="13"/>
                  </a:lnTo>
                  <a:lnTo>
                    <a:pt x="272" y="9"/>
                  </a:lnTo>
                  <a:lnTo>
                    <a:pt x="268" y="4"/>
                  </a:lnTo>
                  <a:lnTo>
                    <a:pt x="262" y="3"/>
                  </a:lnTo>
                  <a:lnTo>
                    <a:pt x="256" y="0"/>
                  </a:lnTo>
                  <a:lnTo>
                    <a:pt x="250" y="0"/>
                  </a:lnTo>
                  <a:lnTo>
                    <a:pt x="250" y="0"/>
                  </a:lnTo>
                  <a:close/>
                  <a:moveTo>
                    <a:pt x="219" y="218"/>
                  </a:moveTo>
                  <a:lnTo>
                    <a:pt x="62" y="218"/>
                  </a:lnTo>
                  <a:lnTo>
                    <a:pt x="62" y="62"/>
                  </a:lnTo>
                  <a:lnTo>
                    <a:pt x="219" y="62"/>
                  </a:lnTo>
                  <a:lnTo>
                    <a:pt x="219" y="2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chemeClr val="bg1"/>
                </a:solidFill>
              </a:endParaRPr>
            </a:p>
          </p:txBody>
        </p:sp>
        <p:sp>
          <p:nvSpPr>
            <p:cNvPr id="52" name="Freeform 352"/>
            <p:cNvSpPr>
              <a:spLocks noEditPoints="1"/>
            </p:cNvSpPr>
            <p:nvPr/>
          </p:nvSpPr>
          <p:spPr bwMode="auto">
            <a:xfrm>
              <a:off x="1902457" y="1788842"/>
              <a:ext cx="95374" cy="96400"/>
            </a:xfrm>
            <a:custGeom>
              <a:avLst/>
              <a:gdLst>
                <a:gd name="T0" fmla="*/ 249 w 280"/>
                <a:gd name="T1" fmla="*/ 0 h 280"/>
                <a:gd name="T2" fmla="*/ 31 w 280"/>
                <a:gd name="T3" fmla="*/ 0 h 280"/>
                <a:gd name="T4" fmla="*/ 31 w 280"/>
                <a:gd name="T5" fmla="*/ 0 h 280"/>
                <a:gd name="T6" fmla="*/ 25 w 280"/>
                <a:gd name="T7" fmla="*/ 0 h 280"/>
                <a:gd name="T8" fmla="*/ 19 w 280"/>
                <a:gd name="T9" fmla="*/ 3 h 280"/>
                <a:gd name="T10" fmla="*/ 13 w 280"/>
                <a:gd name="T11" fmla="*/ 4 h 280"/>
                <a:gd name="T12" fmla="*/ 8 w 280"/>
                <a:gd name="T13" fmla="*/ 9 h 280"/>
                <a:gd name="T14" fmla="*/ 4 w 280"/>
                <a:gd name="T15" fmla="*/ 13 h 280"/>
                <a:gd name="T16" fmla="*/ 1 w 280"/>
                <a:gd name="T17" fmla="*/ 19 h 280"/>
                <a:gd name="T18" fmla="*/ 0 w 280"/>
                <a:gd name="T19" fmla="*/ 25 h 280"/>
                <a:gd name="T20" fmla="*/ 0 w 280"/>
                <a:gd name="T21" fmla="*/ 31 h 280"/>
                <a:gd name="T22" fmla="*/ 0 w 280"/>
                <a:gd name="T23" fmla="*/ 249 h 280"/>
                <a:gd name="T24" fmla="*/ 0 w 280"/>
                <a:gd name="T25" fmla="*/ 249 h 280"/>
                <a:gd name="T26" fmla="*/ 0 w 280"/>
                <a:gd name="T27" fmla="*/ 255 h 280"/>
                <a:gd name="T28" fmla="*/ 1 w 280"/>
                <a:gd name="T29" fmla="*/ 261 h 280"/>
                <a:gd name="T30" fmla="*/ 4 w 280"/>
                <a:gd name="T31" fmla="*/ 267 h 280"/>
                <a:gd name="T32" fmla="*/ 8 w 280"/>
                <a:gd name="T33" fmla="*/ 272 h 280"/>
                <a:gd name="T34" fmla="*/ 13 w 280"/>
                <a:gd name="T35" fmla="*/ 274 h 280"/>
                <a:gd name="T36" fmla="*/ 19 w 280"/>
                <a:gd name="T37" fmla="*/ 277 h 280"/>
                <a:gd name="T38" fmla="*/ 25 w 280"/>
                <a:gd name="T39" fmla="*/ 280 h 280"/>
                <a:gd name="T40" fmla="*/ 31 w 280"/>
                <a:gd name="T41" fmla="*/ 280 h 280"/>
                <a:gd name="T42" fmla="*/ 249 w 280"/>
                <a:gd name="T43" fmla="*/ 280 h 280"/>
                <a:gd name="T44" fmla="*/ 249 w 280"/>
                <a:gd name="T45" fmla="*/ 280 h 280"/>
                <a:gd name="T46" fmla="*/ 255 w 280"/>
                <a:gd name="T47" fmla="*/ 280 h 280"/>
                <a:gd name="T48" fmla="*/ 261 w 280"/>
                <a:gd name="T49" fmla="*/ 277 h 280"/>
                <a:gd name="T50" fmla="*/ 267 w 280"/>
                <a:gd name="T51" fmla="*/ 274 h 280"/>
                <a:gd name="T52" fmla="*/ 271 w 280"/>
                <a:gd name="T53" fmla="*/ 272 h 280"/>
                <a:gd name="T54" fmla="*/ 274 w 280"/>
                <a:gd name="T55" fmla="*/ 267 h 280"/>
                <a:gd name="T56" fmla="*/ 277 w 280"/>
                <a:gd name="T57" fmla="*/ 261 h 280"/>
                <a:gd name="T58" fmla="*/ 279 w 280"/>
                <a:gd name="T59" fmla="*/ 255 h 280"/>
                <a:gd name="T60" fmla="*/ 280 w 280"/>
                <a:gd name="T61" fmla="*/ 249 h 280"/>
                <a:gd name="T62" fmla="*/ 280 w 280"/>
                <a:gd name="T63" fmla="*/ 31 h 280"/>
                <a:gd name="T64" fmla="*/ 280 w 280"/>
                <a:gd name="T65" fmla="*/ 31 h 280"/>
                <a:gd name="T66" fmla="*/ 279 w 280"/>
                <a:gd name="T67" fmla="*/ 25 h 280"/>
                <a:gd name="T68" fmla="*/ 277 w 280"/>
                <a:gd name="T69" fmla="*/ 19 h 280"/>
                <a:gd name="T70" fmla="*/ 274 w 280"/>
                <a:gd name="T71" fmla="*/ 13 h 280"/>
                <a:gd name="T72" fmla="*/ 271 w 280"/>
                <a:gd name="T73" fmla="*/ 9 h 280"/>
                <a:gd name="T74" fmla="*/ 267 w 280"/>
                <a:gd name="T75" fmla="*/ 4 h 280"/>
                <a:gd name="T76" fmla="*/ 261 w 280"/>
                <a:gd name="T77" fmla="*/ 3 h 280"/>
                <a:gd name="T78" fmla="*/ 255 w 280"/>
                <a:gd name="T79" fmla="*/ 0 h 280"/>
                <a:gd name="T80" fmla="*/ 249 w 280"/>
                <a:gd name="T81" fmla="*/ 0 h 280"/>
                <a:gd name="T82" fmla="*/ 249 w 280"/>
                <a:gd name="T83" fmla="*/ 0 h 280"/>
                <a:gd name="T84" fmla="*/ 218 w 280"/>
                <a:gd name="T85" fmla="*/ 218 h 280"/>
                <a:gd name="T86" fmla="*/ 62 w 280"/>
                <a:gd name="T87" fmla="*/ 218 h 280"/>
                <a:gd name="T88" fmla="*/ 62 w 280"/>
                <a:gd name="T89" fmla="*/ 62 h 280"/>
                <a:gd name="T90" fmla="*/ 218 w 280"/>
                <a:gd name="T91" fmla="*/ 62 h 280"/>
                <a:gd name="T92" fmla="*/ 218 w 280"/>
                <a:gd name="T93" fmla="*/ 21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0" h="280">
                  <a:moveTo>
                    <a:pt x="249" y="0"/>
                  </a:moveTo>
                  <a:lnTo>
                    <a:pt x="31" y="0"/>
                  </a:lnTo>
                  <a:lnTo>
                    <a:pt x="31" y="0"/>
                  </a:lnTo>
                  <a:lnTo>
                    <a:pt x="25" y="0"/>
                  </a:lnTo>
                  <a:lnTo>
                    <a:pt x="19" y="3"/>
                  </a:lnTo>
                  <a:lnTo>
                    <a:pt x="13" y="4"/>
                  </a:lnTo>
                  <a:lnTo>
                    <a:pt x="8" y="9"/>
                  </a:lnTo>
                  <a:lnTo>
                    <a:pt x="4" y="13"/>
                  </a:lnTo>
                  <a:lnTo>
                    <a:pt x="1" y="19"/>
                  </a:lnTo>
                  <a:lnTo>
                    <a:pt x="0" y="25"/>
                  </a:lnTo>
                  <a:lnTo>
                    <a:pt x="0" y="31"/>
                  </a:lnTo>
                  <a:lnTo>
                    <a:pt x="0" y="249"/>
                  </a:lnTo>
                  <a:lnTo>
                    <a:pt x="0" y="249"/>
                  </a:lnTo>
                  <a:lnTo>
                    <a:pt x="0" y="255"/>
                  </a:lnTo>
                  <a:lnTo>
                    <a:pt x="1" y="261"/>
                  </a:lnTo>
                  <a:lnTo>
                    <a:pt x="4" y="267"/>
                  </a:lnTo>
                  <a:lnTo>
                    <a:pt x="8" y="272"/>
                  </a:lnTo>
                  <a:lnTo>
                    <a:pt x="13" y="274"/>
                  </a:lnTo>
                  <a:lnTo>
                    <a:pt x="19" y="277"/>
                  </a:lnTo>
                  <a:lnTo>
                    <a:pt x="25" y="280"/>
                  </a:lnTo>
                  <a:lnTo>
                    <a:pt x="31" y="280"/>
                  </a:lnTo>
                  <a:lnTo>
                    <a:pt x="249" y="280"/>
                  </a:lnTo>
                  <a:lnTo>
                    <a:pt x="249" y="280"/>
                  </a:lnTo>
                  <a:lnTo>
                    <a:pt x="255" y="280"/>
                  </a:lnTo>
                  <a:lnTo>
                    <a:pt x="261" y="277"/>
                  </a:lnTo>
                  <a:lnTo>
                    <a:pt x="267" y="274"/>
                  </a:lnTo>
                  <a:lnTo>
                    <a:pt x="271" y="272"/>
                  </a:lnTo>
                  <a:lnTo>
                    <a:pt x="274" y="267"/>
                  </a:lnTo>
                  <a:lnTo>
                    <a:pt x="277" y="261"/>
                  </a:lnTo>
                  <a:lnTo>
                    <a:pt x="279" y="255"/>
                  </a:lnTo>
                  <a:lnTo>
                    <a:pt x="280" y="249"/>
                  </a:lnTo>
                  <a:lnTo>
                    <a:pt x="280" y="31"/>
                  </a:lnTo>
                  <a:lnTo>
                    <a:pt x="280" y="31"/>
                  </a:lnTo>
                  <a:lnTo>
                    <a:pt x="279" y="25"/>
                  </a:lnTo>
                  <a:lnTo>
                    <a:pt x="277" y="19"/>
                  </a:lnTo>
                  <a:lnTo>
                    <a:pt x="274" y="13"/>
                  </a:lnTo>
                  <a:lnTo>
                    <a:pt x="271" y="9"/>
                  </a:lnTo>
                  <a:lnTo>
                    <a:pt x="267" y="4"/>
                  </a:lnTo>
                  <a:lnTo>
                    <a:pt x="261" y="3"/>
                  </a:lnTo>
                  <a:lnTo>
                    <a:pt x="255" y="0"/>
                  </a:lnTo>
                  <a:lnTo>
                    <a:pt x="249" y="0"/>
                  </a:lnTo>
                  <a:lnTo>
                    <a:pt x="249" y="0"/>
                  </a:lnTo>
                  <a:close/>
                  <a:moveTo>
                    <a:pt x="218" y="218"/>
                  </a:moveTo>
                  <a:lnTo>
                    <a:pt x="62" y="218"/>
                  </a:lnTo>
                  <a:lnTo>
                    <a:pt x="62" y="62"/>
                  </a:lnTo>
                  <a:lnTo>
                    <a:pt x="218" y="62"/>
                  </a:lnTo>
                  <a:lnTo>
                    <a:pt x="218" y="2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chemeClr val="bg1"/>
                </a:solidFill>
              </a:endParaRPr>
            </a:p>
          </p:txBody>
        </p:sp>
        <p:sp>
          <p:nvSpPr>
            <p:cNvPr id="53" name="Freeform 353"/>
            <p:cNvSpPr>
              <a:spLocks noEditPoints="1"/>
            </p:cNvSpPr>
            <p:nvPr/>
          </p:nvSpPr>
          <p:spPr bwMode="auto">
            <a:xfrm>
              <a:off x="2197810" y="1788842"/>
              <a:ext cx="96400" cy="96400"/>
            </a:xfrm>
            <a:custGeom>
              <a:avLst/>
              <a:gdLst>
                <a:gd name="T0" fmla="*/ 250 w 281"/>
                <a:gd name="T1" fmla="*/ 0 h 280"/>
                <a:gd name="T2" fmla="*/ 31 w 281"/>
                <a:gd name="T3" fmla="*/ 0 h 280"/>
                <a:gd name="T4" fmla="*/ 31 w 281"/>
                <a:gd name="T5" fmla="*/ 0 h 280"/>
                <a:gd name="T6" fmla="*/ 25 w 281"/>
                <a:gd name="T7" fmla="*/ 0 h 280"/>
                <a:gd name="T8" fmla="*/ 19 w 281"/>
                <a:gd name="T9" fmla="*/ 3 h 280"/>
                <a:gd name="T10" fmla="*/ 13 w 281"/>
                <a:gd name="T11" fmla="*/ 4 h 280"/>
                <a:gd name="T12" fmla="*/ 9 w 281"/>
                <a:gd name="T13" fmla="*/ 9 h 280"/>
                <a:gd name="T14" fmla="*/ 4 w 281"/>
                <a:gd name="T15" fmla="*/ 13 h 280"/>
                <a:gd name="T16" fmla="*/ 1 w 281"/>
                <a:gd name="T17" fmla="*/ 19 h 280"/>
                <a:gd name="T18" fmla="*/ 0 w 281"/>
                <a:gd name="T19" fmla="*/ 25 h 280"/>
                <a:gd name="T20" fmla="*/ 0 w 281"/>
                <a:gd name="T21" fmla="*/ 31 h 280"/>
                <a:gd name="T22" fmla="*/ 0 w 281"/>
                <a:gd name="T23" fmla="*/ 249 h 280"/>
                <a:gd name="T24" fmla="*/ 0 w 281"/>
                <a:gd name="T25" fmla="*/ 249 h 280"/>
                <a:gd name="T26" fmla="*/ 0 w 281"/>
                <a:gd name="T27" fmla="*/ 255 h 280"/>
                <a:gd name="T28" fmla="*/ 1 w 281"/>
                <a:gd name="T29" fmla="*/ 261 h 280"/>
                <a:gd name="T30" fmla="*/ 4 w 281"/>
                <a:gd name="T31" fmla="*/ 267 h 280"/>
                <a:gd name="T32" fmla="*/ 9 w 281"/>
                <a:gd name="T33" fmla="*/ 272 h 280"/>
                <a:gd name="T34" fmla="*/ 13 w 281"/>
                <a:gd name="T35" fmla="*/ 274 h 280"/>
                <a:gd name="T36" fmla="*/ 19 w 281"/>
                <a:gd name="T37" fmla="*/ 277 h 280"/>
                <a:gd name="T38" fmla="*/ 25 w 281"/>
                <a:gd name="T39" fmla="*/ 280 h 280"/>
                <a:gd name="T40" fmla="*/ 31 w 281"/>
                <a:gd name="T41" fmla="*/ 280 h 280"/>
                <a:gd name="T42" fmla="*/ 250 w 281"/>
                <a:gd name="T43" fmla="*/ 280 h 280"/>
                <a:gd name="T44" fmla="*/ 250 w 281"/>
                <a:gd name="T45" fmla="*/ 280 h 280"/>
                <a:gd name="T46" fmla="*/ 256 w 281"/>
                <a:gd name="T47" fmla="*/ 280 h 280"/>
                <a:gd name="T48" fmla="*/ 261 w 281"/>
                <a:gd name="T49" fmla="*/ 277 h 280"/>
                <a:gd name="T50" fmla="*/ 267 w 281"/>
                <a:gd name="T51" fmla="*/ 274 h 280"/>
                <a:gd name="T52" fmla="*/ 272 w 281"/>
                <a:gd name="T53" fmla="*/ 272 h 280"/>
                <a:gd name="T54" fmla="*/ 275 w 281"/>
                <a:gd name="T55" fmla="*/ 267 h 280"/>
                <a:gd name="T56" fmla="*/ 278 w 281"/>
                <a:gd name="T57" fmla="*/ 261 h 280"/>
                <a:gd name="T58" fmla="*/ 281 w 281"/>
                <a:gd name="T59" fmla="*/ 255 h 280"/>
                <a:gd name="T60" fmla="*/ 281 w 281"/>
                <a:gd name="T61" fmla="*/ 249 h 280"/>
                <a:gd name="T62" fmla="*/ 281 w 281"/>
                <a:gd name="T63" fmla="*/ 31 h 280"/>
                <a:gd name="T64" fmla="*/ 281 w 281"/>
                <a:gd name="T65" fmla="*/ 31 h 280"/>
                <a:gd name="T66" fmla="*/ 281 w 281"/>
                <a:gd name="T67" fmla="*/ 25 h 280"/>
                <a:gd name="T68" fmla="*/ 278 w 281"/>
                <a:gd name="T69" fmla="*/ 19 h 280"/>
                <a:gd name="T70" fmla="*/ 275 w 281"/>
                <a:gd name="T71" fmla="*/ 13 h 280"/>
                <a:gd name="T72" fmla="*/ 272 w 281"/>
                <a:gd name="T73" fmla="*/ 9 h 280"/>
                <a:gd name="T74" fmla="*/ 267 w 281"/>
                <a:gd name="T75" fmla="*/ 4 h 280"/>
                <a:gd name="T76" fmla="*/ 261 w 281"/>
                <a:gd name="T77" fmla="*/ 3 h 280"/>
                <a:gd name="T78" fmla="*/ 256 w 281"/>
                <a:gd name="T79" fmla="*/ 0 h 280"/>
                <a:gd name="T80" fmla="*/ 250 w 281"/>
                <a:gd name="T81" fmla="*/ 0 h 280"/>
                <a:gd name="T82" fmla="*/ 250 w 281"/>
                <a:gd name="T83" fmla="*/ 0 h 280"/>
                <a:gd name="T84" fmla="*/ 219 w 281"/>
                <a:gd name="T85" fmla="*/ 218 h 280"/>
                <a:gd name="T86" fmla="*/ 62 w 281"/>
                <a:gd name="T87" fmla="*/ 218 h 280"/>
                <a:gd name="T88" fmla="*/ 62 w 281"/>
                <a:gd name="T89" fmla="*/ 62 h 280"/>
                <a:gd name="T90" fmla="*/ 219 w 281"/>
                <a:gd name="T91" fmla="*/ 62 h 280"/>
                <a:gd name="T92" fmla="*/ 219 w 281"/>
                <a:gd name="T93" fmla="*/ 21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1" h="280">
                  <a:moveTo>
                    <a:pt x="250" y="0"/>
                  </a:moveTo>
                  <a:lnTo>
                    <a:pt x="31" y="0"/>
                  </a:lnTo>
                  <a:lnTo>
                    <a:pt x="31" y="0"/>
                  </a:lnTo>
                  <a:lnTo>
                    <a:pt x="25" y="0"/>
                  </a:lnTo>
                  <a:lnTo>
                    <a:pt x="19" y="3"/>
                  </a:lnTo>
                  <a:lnTo>
                    <a:pt x="13" y="4"/>
                  </a:lnTo>
                  <a:lnTo>
                    <a:pt x="9" y="9"/>
                  </a:lnTo>
                  <a:lnTo>
                    <a:pt x="4" y="13"/>
                  </a:lnTo>
                  <a:lnTo>
                    <a:pt x="1" y="19"/>
                  </a:lnTo>
                  <a:lnTo>
                    <a:pt x="0" y="25"/>
                  </a:lnTo>
                  <a:lnTo>
                    <a:pt x="0" y="31"/>
                  </a:lnTo>
                  <a:lnTo>
                    <a:pt x="0" y="249"/>
                  </a:lnTo>
                  <a:lnTo>
                    <a:pt x="0" y="249"/>
                  </a:lnTo>
                  <a:lnTo>
                    <a:pt x="0" y="255"/>
                  </a:lnTo>
                  <a:lnTo>
                    <a:pt x="1" y="261"/>
                  </a:lnTo>
                  <a:lnTo>
                    <a:pt x="4" y="267"/>
                  </a:lnTo>
                  <a:lnTo>
                    <a:pt x="9" y="272"/>
                  </a:lnTo>
                  <a:lnTo>
                    <a:pt x="13" y="274"/>
                  </a:lnTo>
                  <a:lnTo>
                    <a:pt x="19" y="277"/>
                  </a:lnTo>
                  <a:lnTo>
                    <a:pt x="25" y="280"/>
                  </a:lnTo>
                  <a:lnTo>
                    <a:pt x="31" y="280"/>
                  </a:lnTo>
                  <a:lnTo>
                    <a:pt x="250" y="280"/>
                  </a:lnTo>
                  <a:lnTo>
                    <a:pt x="250" y="280"/>
                  </a:lnTo>
                  <a:lnTo>
                    <a:pt x="256" y="280"/>
                  </a:lnTo>
                  <a:lnTo>
                    <a:pt x="261" y="277"/>
                  </a:lnTo>
                  <a:lnTo>
                    <a:pt x="267" y="274"/>
                  </a:lnTo>
                  <a:lnTo>
                    <a:pt x="272" y="272"/>
                  </a:lnTo>
                  <a:lnTo>
                    <a:pt x="275" y="267"/>
                  </a:lnTo>
                  <a:lnTo>
                    <a:pt x="278" y="261"/>
                  </a:lnTo>
                  <a:lnTo>
                    <a:pt x="281" y="255"/>
                  </a:lnTo>
                  <a:lnTo>
                    <a:pt x="281" y="249"/>
                  </a:lnTo>
                  <a:lnTo>
                    <a:pt x="281" y="31"/>
                  </a:lnTo>
                  <a:lnTo>
                    <a:pt x="281" y="31"/>
                  </a:lnTo>
                  <a:lnTo>
                    <a:pt x="281" y="25"/>
                  </a:lnTo>
                  <a:lnTo>
                    <a:pt x="278" y="19"/>
                  </a:lnTo>
                  <a:lnTo>
                    <a:pt x="275" y="13"/>
                  </a:lnTo>
                  <a:lnTo>
                    <a:pt x="272" y="9"/>
                  </a:lnTo>
                  <a:lnTo>
                    <a:pt x="267" y="4"/>
                  </a:lnTo>
                  <a:lnTo>
                    <a:pt x="261" y="3"/>
                  </a:lnTo>
                  <a:lnTo>
                    <a:pt x="256" y="0"/>
                  </a:lnTo>
                  <a:lnTo>
                    <a:pt x="250" y="0"/>
                  </a:lnTo>
                  <a:lnTo>
                    <a:pt x="250" y="0"/>
                  </a:lnTo>
                  <a:close/>
                  <a:moveTo>
                    <a:pt x="219" y="218"/>
                  </a:moveTo>
                  <a:lnTo>
                    <a:pt x="62" y="218"/>
                  </a:lnTo>
                  <a:lnTo>
                    <a:pt x="62" y="62"/>
                  </a:lnTo>
                  <a:lnTo>
                    <a:pt x="219" y="62"/>
                  </a:lnTo>
                  <a:lnTo>
                    <a:pt x="219" y="2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chemeClr val="bg1"/>
                </a:solidFill>
              </a:endParaRPr>
            </a:p>
          </p:txBody>
        </p:sp>
      </p:grpSp>
      <p:sp>
        <p:nvSpPr>
          <p:cNvPr id="63" name="IM&amp;A List"/>
          <p:cNvSpPr/>
          <p:nvPr/>
        </p:nvSpPr>
        <p:spPr>
          <a:xfrm>
            <a:off x="6398961" y="3920018"/>
            <a:ext cx="1325801" cy="443198"/>
          </a:xfrm>
          <a:prstGeom prst="rect">
            <a:avLst/>
          </a:prstGeom>
          <a:noFill/>
          <a:ln>
            <a:noFill/>
          </a:ln>
        </p:spPr>
        <p:txBody>
          <a:bodyPr wrap="square" lIns="89154" tIns="68580" rIns="68580" bIns="68580">
            <a:spAutoFit/>
          </a:bodyPr>
          <a:lstStyle/>
          <a:p>
            <a:pPr algn="ctr" defTabSz="914340">
              <a:lnSpc>
                <a:spcPct val="90000"/>
              </a:lnSpc>
            </a:pPr>
            <a:r>
              <a:rPr lang="en-US" sz="1100" kern="0" spc="50" dirty="0">
                <a:solidFill>
                  <a:schemeClr val="bg1"/>
                </a:solidFill>
                <a:latin typeface="Arial"/>
                <a:ea typeface="Apex New Light" pitchFamily="50" charset="0"/>
                <a:cs typeface="TradeGothic Bold"/>
              </a:rPr>
              <a:t>Secure and fully integrated</a:t>
            </a:r>
          </a:p>
        </p:txBody>
      </p:sp>
      <p:grpSp>
        <p:nvGrpSpPr>
          <p:cNvPr id="54" name="Group 53"/>
          <p:cNvGrpSpPr/>
          <p:nvPr/>
        </p:nvGrpSpPr>
        <p:grpSpPr>
          <a:xfrm>
            <a:off x="6817276" y="3424077"/>
            <a:ext cx="481506" cy="428005"/>
            <a:chOff x="1334313" y="3194845"/>
            <a:chExt cx="396880" cy="352783"/>
          </a:xfrm>
          <a:solidFill>
            <a:schemeClr val="bg1"/>
          </a:solidFill>
        </p:grpSpPr>
        <p:sp>
          <p:nvSpPr>
            <p:cNvPr id="56" name="Freeform 321"/>
            <p:cNvSpPr>
              <a:spLocks noEditPoints="1"/>
            </p:cNvSpPr>
            <p:nvPr/>
          </p:nvSpPr>
          <p:spPr bwMode="auto">
            <a:xfrm>
              <a:off x="1372258" y="3255351"/>
              <a:ext cx="140498" cy="253306"/>
            </a:xfrm>
            <a:custGeom>
              <a:avLst/>
              <a:gdLst>
                <a:gd name="T0" fmla="*/ 62 w 409"/>
                <a:gd name="T1" fmla="*/ 403 h 742"/>
                <a:gd name="T2" fmla="*/ 173 w 409"/>
                <a:gd name="T3" fmla="*/ 403 h 742"/>
                <a:gd name="T4" fmla="*/ 173 w 409"/>
                <a:gd name="T5" fmla="*/ 742 h 742"/>
                <a:gd name="T6" fmla="*/ 235 w 409"/>
                <a:gd name="T7" fmla="*/ 742 h 742"/>
                <a:gd name="T8" fmla="*/ 235 w 409"/>
                <a:gd name="T9" fmla="*/ 696 h 742"/>
                <a:gd name="T10" fmla="*/ 347 w 409"/>
                <a:gd name="T11" fmla="*/ 649 h 742"/>
                <a:gd name="T12" fmla="*/ 347 w 409"/>
                <a:gd name="T13" fmla="*/ 742 h 742"/>
                <a:gd name="T14" fmla="*/ 409 w 409"/>
                <a:gd name="T15" fmla="*/ 742 h 742"/>
                <a:gd name="T16" fmla="*/ 409 w 409"/>
                <a:gd name="T17" fmla="*/ 0 h 742"/>
                <a:gd name="T18" fmla="*/ 173 w 409"/>
                <a:gd name="T19" fmla="*/ 0 h 742"/>
                <a:gd name="T20" fmla="*/ 173 w 409"/>
                <a:gd name="T21" fmla="*/ 341 h 742"/>
                <a:gd name="T22" fmla="*/ 0 w 409"/>
                <a:gd name="T23" fmla="*/ 341 h 742"/>
                <a:gd name="T24" fmla="*/ 0 w 409"/>
                <a:gd name="T25" fmla="*/ 742 h 742"/>
                <a:gd name="T26" fmla="*/ 62 w 409"/>
                <a:gd name="T27" fmla="*/ 742 h 742"/>
                <a:gd name="T28" fmla="*/ 62 w 409"/>
                <a:gd name="T29" fmla="*/ 403 h 742"/>
                <a:gd name="T30" fmla="*/ 235 w 409"/>
                <a:gd name="T31" fmla="*/ 211 h 742"/>
                <a:gd name="T32" fmla="*/ 347 w 409"/>
                <a:gd name="T33" fmla="*/ 164 h 742"/>
                <a:gd name="T34" fmla="*/ 347 w 409"/>
                <a:gd name="T35" fmla="*/ 257 h 742"/>
                <a:gd name="T36" fmla="*/ 235 w 409"/>
                <a:gd name="T37" fmla="*/ 304 h 742"/>
                <a:gd name="T38" fmla="*/ 235 w 409"/>
                <a:gd name="T39" fmla="*/ 211 h 742"/>
                <a:gd name="T40" fmla="*/ 235 w 409"/>
                <a:gd name="T41" fmla="*/ 372 h 742"/>
                <a:gd name="T42" fmla="*/ 347 w 409"/>
                <a:gd name="T43" fmla="*/ 325 h 742"/>
                <a:gd name="T44" fmla="*/ 347 w 409"/>
                <a:gd name="T45" fmla="*/ 420 h 742"/>
                <a:gd name="T46" fmla="*/ 235 w 409"/>
                <a:gd name="T47" fmla="*/ 467 h 742"/>
                <a:gd name="T48" fmla="*/ 235 w 409"/>
                <a:gd name="T49" fmla="*/ 372 h 742"/>
                <a:gd name="T50" fmla="*/ 235 w 409"/>
                <a:gd name="T51" fmla="*/ 628 h 742"/>
                <a:gd name="T52" fmla="*/ 235 w 409"/>
                <a:gd name="T53" fmla="*/ 533 h 742"/>
                <a:gd name="T54" fmla="*/ 347 w 409"/>
                <a:gd name="T55" fmla="*/ 486 h 742"/>
                <a:gd name="T56" fmla="*/ 347 w 409"/>
                <a:gd name="T57" fmla="*/ 581 h 742"/>
                <a:gd name="T58" fmla="*/ 235 w 409"/>
                <a:gd name="T59" fmla="*/ 628 h 742"/>
                <a:gd name="T60" fmla="*/ 347 w 409"/>
                <a:gd name="T61" fmla="*/ 62 h 742"/>
                <a:gd name="T62" fmla="*/ 347 w 409"/>
                <a:gd name="T63" fmla="*/ 96 h 742"/>
                <a:gd name="T64" fmla="*/ 235 w 409"/>
                <a:gd name="T65" fmla="*/ 143 h 742"/>
                <a:gd name="T66" fmla="*/ 235 w 409"/>
                <a:gd name="T67" fmla="*/ 62 h 742"/>
                <a:gd name="T68" fmla="*/ 347 w 409"/>
                <a:gd name="T69" fmla="*/ 6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9" h="742">
                  <a:moveTo>
                    <a:pt x="62" y="403"/>
                  </a:moveTo>
                  <a:lnTo>
                    <a:pt x="173" y="403"/>
                  </a:lnTo>
                  <a:lnTo>
                    <a:pt x="173" y="742"/>
                  </a:lnTo>
                  <a:lnTo>
                    <a:pt x="235" y="742"/>
                  </a:lnTo>
                  <a:lnTo>
                    <a:pt x="235" y="696"/>
                  </a:lnTo>
                  <a:lnTo>
                    <a:pt x="347" y="649"/>
                  </a:lnTo>
                  <a:lnTo>
                    <a:pt x="347" y="742"/>
                  </a:lnTo>
                  <a:lnTo>
                    <a:pt x="409" y="742"/>
                  </a:lnTo>
                  <a:lnTo>
                    <a:pt x="409" y="0"/>
                  </a:lnTo>
                  <a:lnTo>
                    <a:pt x="173" y="0"/>
                  </a:lnTo>
                  <a:lnTo>
                    <a:pt x="173" y="341"/>
                  </a:lnTo>
                  <a:lnTo>
                    <a:pt x="0" y="341"/>
                  </a:lnTo>
                  <a:lnTo>
                    <a:pt x="0" y="742"/>
                  </a:lnTo>
                  <a:lnTo>
                    <a:pt x="62" y="742"/>
                  </a:lnTo>
                  <a:lnTo>
                    <a:pt x="62" y="403"/>
                  </a:lnTo>
                  <a:close/>
                  <a:moveTo>
                    <a:pt x="235" y="211"/>
                  </a:moveTo>
                  <a:lnTo>
                    <a:pt x="347" y="164"/>
                  </a:lnTo>
                  <a:lnTo>
                    <a:pt x="347" y="257"/>
                  </a:lnTo>
                  <a:lnTo>
                    <a:pt x="235" y="304"/>
                  </a:lnTo>
                  <a:lnTo>
                    <a:pt x="235" y="211"/>
                  </a:lnTo>
                  <a:close/>
                  <a:moveTo>
                    <a:pt x="235" y="372"/>
                  </a:moveTo>
                  <a:lnTo>
                    <a:pt x="347" y="325"/>
                  </a:lnTo>
                  <a:lnTo>
                    <a:pt x="347" y="420"/>
                  </a:lnTo>
                  <a:lnTo>
                    <a:pt x="235" y="467"/>
                  </a:lnTo>
                  <a:lnTo>
                    <a:pt x="235" y="372"/>
                  </a:lnTo>
                  <a:close/>
                  <a:moveTo>
                    <a:pt x="235" y="628"/>
                  </a:moveTo>
                  <a:lnTo>
                    <a:pt x="235" y="533"/>
                  </a:lnTo>
                  <a:lnTo>
                    <a:pt x="347" y="486"/>
                  </a:lnTo>
                  <a:lnTo>
                    <a:pt x="347" y="581"/>
                  </a:lnTo>
                  <a:lnTo>
                    <a:pt x="235" y="628"/>
                  </a:lnTo>
                  <a:close/>
                  <a:moveTo>
                    <a:pt x="347" y="62"/>
                  </a:moveTo>
                  <a:lnTo>
                    <a:pt x="347" y="96"/>
                  </a:lnTo>
                  <a:lnTo>
                    <a:pt x="235" y="143"/>
                  </a:lnTo>
                  <a:lnTo>
                    <a:pt x="235" y="62"/>
                  </a:lnTo>
                  <a:lnTo>
                    <a:pt x="347"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chemeClr val="bg1"/>
                </a:solidFill>
              </a:endParaRPr>
            </a:p>
          </p:txBody>
        </p:sp>
        <p:sp>
          <p:nvSpPr>
            <p:cNvPr id="57" name="Freeform 322"/>
            <p:cNvSpPr>
              <a:spLocks noEditPoints="1"/>
            </p:cNvSpPr>
            <p:nvPr/>
          </p:nvSpPr>
          <p:spPr bwMode="auto">
            <a:xfrm>
              <a:off x="1553777" y="3194845"/>
              <a:ext cx="139472" cy="313812"/>
            </a:xfrm>
            <a:custGeom>
              <a:avLst/>
              <a:gdLst>
                <a:gd name="T0" fmla="*/ 62 w 409"/>
                <a:gd name="T1" fmla="*/ 476 h 918"/>
                <a:gd name="T2" fmla="*/ 174 w 409"/>
                <a:gd name="T3" fmla="*/ 476 h 918"/>
                <a:gd name="T4" fmla="*/ 174 w 409"/>
                <a:gd name="T5" fmla="*/ 918 h 918"/>
                <a:gd name="T6" fmla="*/ 236 w 409"/>
                <a:gd name="T7" fmla="*/ 918 h 918"/>
                <a:gd name="T8" fmla="*/ 236 w 409"/>
                <a:gd name="T9" fmla="*/ 866 h 918"/>
                <a:gd name="T10" fmla="*/ 347 w 409"/>
                <a:gd name="T11" fmla="*/ 819 h 918"/>
                <a:gd name="T12" fmla="*/ 347 w 409"/>
                <a:gd name="T13" fmla="*/ 918 h 918"/>
                <a:gd name="T14" fmla="*/ 409 w 409"/>
                <a:gd name="T15" fmla="*/ 918 h 918"/>
                <a:gd name="T16" fmla="*/ 409 w 409"/>
                <a:gd name="T17" fmla="*/ 0 h 918"/>
                <a:gd name="T18" fmla="*/ 174 w 409"/>
                <a:gd name="T19" fmla="*/ 0 h 918"/>
                <a:gd name="T20" fmla="*/ 174 w 409"/>
                <a:gd name="T21" fmla="*/ 414 h 918"/>
                <a:gd name="T22" fmla="*/ 0 w 409"/>
                <a:gd name="T23" fmla="*/ 414 h 918"/>
                <a:gd name="T24" fmla="*/ 0 w 409"/>
                <a:gd name="T25" fmla="*/ 918 h 918"/>
                <a:gd name="T26" fmla="*/ 62 w 409"/>
                <a:gd name="T27" fmla="*/ 918 h 918"/>
                <a:gd name="T28" fmla="*/ 62 w 409"/>
                <a:gd name="T29" fmla="*/ 476 h 918"/>
                <a:gd name="T30" fmla="*/ 347 w 409"/>
                <a:gd name="T31" fmla="*/ 591 h 918"/>
                <a:gd name="T32" fmla="*/ 236 w 409"/>
                <a:gd name="T33" fmla="*/ 638 h 918"/>
                <a:gd name="T34" fmla="*/ 236 w 409"/>
                <a:gd name="T35" fmla="*/ 544 h 918"/>
                <a:gd name="T36" fmla="*/ 347 w 409"/>
                <a:gd name="T37" fmla="*/ 497 h 918"/>
                <a:gd name="T38" fmla="*/ 347 w 409"/>
                <a:gd name="T39" fmla="*/ 591 h 918"/>
                <a:gd name="T40" fmla="*/ 347 w 409"/>
                <a:gd name="T41" fmla="*/ 268 h 918"/>
                <a:gd name="T42" fmla="*/ 236 w 409"/>
                <a:gd name="T43" fmla="*/ 315 h 918"/>
                <a:gd name="T44" fmla="*/ 236 w 409"/>
                <a:gd name="T45" fmla="*/ 220 h 918"/>
                <a:gd name="T46" fmla="*/ 347 w 409"/>
                <a:gd name="T47" fmla="*/ 173 h 918"/>
                <a:gd name="T48" fmla="*/ 347 w 409"/>
                <a:gd name="T49" fmla="*/ 268 h 918"/>
                <a:gd name="T50" fmla="*/ 236 w 409"/>
                <a:gd name="T51" fmla="*/ 383 h 918"/>
                <a:gd name="T52" fmla="*/ 347 w 409"/>
                <a:gd name="T53" fmla="*/ 336 h 918"/>
                <a:gd name="T54" fmla="*/ 347 w 409"/>
                <a:gd name="T55" fmla="*/ 429 h 918"/>
                <a:gd name="T56" fmla="*/ 236 w 409"/>
                <a:gd name="T57" fmla="*/ 476 h 918"/>
                <a:gd name="T58" fmla="*/ 236 w 409"/>
                <a:gd name="T59" fmla="*/ 383 h 918"/>
                <a:gd name="T60" fmla="*/ 236 w 409"/>
                <a:gd name="T61" fmla="*/ 799 h 918"/>
                <a:gd name="T62" fmla="*/ 236 w 409"/>
                <a:gd name="T63" fmla="*/ 705 h 918"/>
                <a:gd name="T64" fmla="*/ 347 w 409"/>
                <a:gd name="T65" fmla="*/ 658 h 918"/>
                <a:gd name="T66" fmla="*/ 347 w 409"/>
                <a:gd name="T67" fmla="*/ 752 h 918"/>
                <a:gd name="T68" fmla="*/ 236 w 409"/>
                <a:gd name="T69" fmla="*/ 799 h 918"/>
                <a:gd name="T70" fmla="*/ 347 w 409"/>
                <a:gd name="T71" fmla="*/ 62 h 918"/>
                <a:gd name="T72" fmla="*/ 347 w 409"/>
                <a:gd name="T73" fmla="*/ 105 h 918"/>
                <a:gd name="T74" fmla="*/ 236 w 409"/>
                <a:gd name="T75" fmla="*/ 152 h 918"/>
                <a:gd name="T76" fmla="*/ 236 w 409"/>
                <a:gd name="T77" fmla="*/ 62 h 918"/>
                <a:gd name="T78" fmla="*/ 347 w 409"/>
                <a:gd name="T79" fmla="*/ 62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9" h="918">
                  <a:moveTo>
                    <a:pt x="62" y="476"/>
                  </a:moveTo>
                  <a:lnTo>
                    <a:pt x="174" y="476"/>
                  </a:lnTo>
                  <a:lnTo>
                    <a:pt x="174" y="918"/>
                  </a:lnTo>
                  <a:lnTo>
                    <a:pt x="236" y="918"/>
                  </a:lnTo>
                  <a:lnTo>
                    <a:pt x="236" y="866"/>
                  </a:lnTo>
                  <a:lnTo>
                    <a:pt x="347" y="819"/>
                  </a:lnTo>
                  <a:lnTo>
                    <a:pt x="347" y="918"/>
                  </a:lnTo>
                  <a:lnTo>
                    <a:pt x="409" y="918"/>
                  </a:lnTo>
                  <a:lnTo>
                    <a:pt x="409" y="0"/>
                  </a:lnTo>
                  <a:lnTo>
                    <a:pt x="174" y="0"/>
                  </a:lnTo>
                  <a:lnTo>
                    <a:pt x="174" y="414"/>
                  </a:lnTo>
                  <a:lnTo>
                    <a:pt x="0" y="414"/>
                  </a:lnTo>
                  <a:lnTo>
                    <a:pt x="0" y="918"/>
                  </a:lnTo>
                  <a:lnTo>
                    <a:pt x="62" y="918"/>
                  </a:lnTo>
                  <a:lnTo>
                    <a:pt x="62" y="476"/>
                  </a:lnTo>
                  <a:close/>
                  <a:moveTo>
                    <a:pt x="347" y="591"/>
                  </a:moveTo>
                  <a:lnTo>
                    <a:pt x="236" y="638"/>
                  </a:lnTo>
                  <a:lnTo>
                    <a:pt x="236" y="544"/>
                  </a:lnTo>
                  <a:lnTo>
                    <a:pt x="347" y="497"/>
                  </a:lnTo>
                  <a:lnTo>
                    <a:pt x="347" y="591"/>
                  </a:lnTo>
                  <a:close/>
                  <a:moveTo>
                    <a:pt x="347" y="268"/>
                  </a:moveTo>
                  <a:lnTo>
                    <a:pt x="236" y="315"/>
                  </a:lnTo>
                  <a:lnTo>
                    <a:pt x="236" y="220"/>
                  </a:lnTo>
                  <a:lnTo>
                    <a:pt x="347" y="173"/>
                  </a:lnTo>
                  <a:lnTo>
                    <a:pt x="347" y="268"/>
                  </a:lnTo>
                  <a:close/>
                  <a:moveTo>
                    <a:pt x="236" y="383"/>
                  </a:moveTo>
                  <a:lnTo>
                    <a:pt x="347" y="336"/>
                  </a:lnTo>
                  <a:lnTo>
                    <a:pt x="347" y="429"/>
                  </a:lnTo>
                  <a:lnTo>
                    <a:pt x="236" y="476"/>
                  </a:lnTo>
                  <a:lnTo>
                    <a:pt x="236" y="383"/>
                  </a:lnTo>
                  <a:close/>
                  <a:moveTo>
                    <a:pt x="236" y="799"/>
                  </a:moveTo>
                  <a:lnTo>
                    <a:pt x="236" y="705"/>
                  </a:lnTo>
                  <a:lnTo>
                    <a:pt x="347" y="658"/>
                  </a:lnTo>
                  <a:lnTo>
                    <a:pt x="347" y="752"/>
                  </a:lnTo>
                  <a:lnTo>
                    <a:pt x="236" y="799"/>
                  </a:lnTo>
                  <a:close/>
                  <a:moveTo>
                    <a:pt x="347" y="62"/>
                  </a:moveTo>
                  <a:lnTo>
                    <a:pt x="347" y="105"/>
                  </a:lnTo>
                  <a:lnTo>
                    <a:pt x="236" y="152"/>
                  </a:lnTo>
                  <a:lnTo>
                    <a:pt x="236" y="62"/>
                  </a:lnTo>
                  <a:lnTo>
                    <a:pt x="347"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chemeClr val="bg1"/>
                </a:solidFill>
              </a:endParaRPr>
            </a:p>
          </p:txBody>
        </p:sp>
        <p:sp>
          <p:nvSpPr>
            <p:cNvPr id="58" name="Rectangle 323"/>
            <p:cNvSpPr>
              <a:spLocks noChangeArrowheads="1"/>
            </p:cNvSpPr>
            <p:nvPr/>
          </p:nvSpPr>
          <p:spPr bwMode="auto">
            <a:xfrm>
              <a:off x="1334313" y="3527117"/>
              <a:ext cx="396880" cy="205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chemeClr val="bg1"/>
                </a:solidFill>
              </a:endParaRPr>
            </a:p>
          </p:txBody>
        </p:sp>
      </p:grpSp>
      <p:sp>
        <p:nvSpPr>
          <p:cNvPr id="38" name="Delivery Leadership List"/>
          <p:cNvSpPr/>
          <p:nvPr/>
        </p:nvSpPr>
        <p:spPr>
          <a:xfrm>
            <a:off x="1572435" y="3920018"/>
            <a:ext cx="1584870" cy="443198"/>
          </a:xfrm>
          <a:prstGeom prst="rect">
            <a:avLst/>
          </a:prstGeom>
          <a:noFill/>
          <a:ln>
            <a:noFill/>
          </a:ln>
        </p:spPr>
        <p:txBody>
          <a:bodyPr wrap="square" lIns="89154" tIns="68580" rIns="68580" bIns="68580">
            <a:spAutoFit/>
          </a:bodyPr>
          <a:lstStyle/>
          <a:p>
            <a:pPr algn="ctr" defTabSz="914340">
              <a:lnSpc>
                <a:spcPct val="90000"/>
              </a:lnSpc>
            </a:pPr>
            <a:r>
              <a:rPr lang="fr-FR" sz="1100" kern="0" spc="50" dirty="0">
                <a:solidFill>
                  <a:schemeClr val="bg1"/>
                </a:solidFill>
                <a:ea typeface="Apex New Light" pitchFamily="50" charset="0"/>
                <a:cs typeface="TradeGothic Bold"/>
              </a:rPr>
              <a:t>Supports EU GDPR </a:t>
            </a:r>
            <a:r>
              <a:rPr lang="fr-FR" sz="1100" kern="0" spc="50" dirty="0" err="1">
                <a:solidFill>
                  <a:schemeClr val="bg1"/>
                </a:solidFill>
                <a:ea typeface="Apex New Light" pitchFamily="50" charset="0"/>
                <a:cs typeface="TradeGothic Bold"/>
              </a:rPr>
              <a:t>regulations</a:t>
            </a:r>
            <a:endParaRPr lang="fr-FR" sz="1100" kern="0" spc="50" dirty="0">
              <a:solidFill>
                <a:schemeClr val="bg1"/>
              </a:solidFill>
              <a:ea typeface="Apex New Light" pitchFamily="50" charset="0"/>
              <a:cs typeface="TradeGothic Bold"/>
            </a:endParaRPr>
          </a:p>
        </p:txBody>
      </p:sp>
      <p:grpSp>
        <p:nvGrpSpPr>
          <p:cNvPr id="59" name="Group 58"/>
          <p:cNvGrpSpPr/>
          <p:nvPr/>
        </p:nvGrpSpPr>
        <p:grpSpPr>
          <a:xfrm>
            <a:off x="2146671" y="3342506"/>
            <a:ext cx="391118" cy="531921"/>
            <a:chOff x="1912938" y="2133601"/>
            <a:chExt cx="317500" cy="431800"/>
          </a:xfrm>
          <a:solidFill>
            <a:schemeClr val="bg1"/>
          </a:solidFill>
        </p:grpSpPr>
        <p:sp>
          <p:nvSpPr>
            <p:cNvPr id="60" name="Freeform 60"/>
            <p:cNvSpPr>
              <a:spLocks/>
            </p:cNvSpPr>
            <p:nvPr/>
          </p:nvSpPr>
          <p:spPr bwMode="auto">
            <a:xfrm>
              <a:off x="2006600" y="2235201"/>
              <a:ext cx="125413" cy="214313"/>
            </a:xfrm>
            <a:custGeom>
              <a:avLst/>
              <a:gdLst>
                <a:gd name="T0" fmla="*/ 75 w 314"/>
                <a:gd name="T1" fmla="*/ 0 h 539"/>
                <a:gd name="T2" fmla="*/ 68 w 314"/>
                <a:gd name="T3" fmla="*/ 1 h 539"/>
                <a:gd name="T4" fmla="*/ 47 w 314"/>
                <a:gd name="T5" fmla="*/ 6 h 539"/>
                <a:gd name="T6" fmla="*/ 23 w 314"/>
                <a:gd name="T7" fmla="*/ 22 h 539"/>
                <a:gd name="T8" fmla="*/ 7 w 314"/>
                <a:gd name="T9" fmla="*/ 46 h 539"/>
                <a:gd name="T10" fmla="*/ 0 w 314"/>
                <a:gd name="T11" fmla="*/ 67 h 539"/>
                <a:gd name="T12" fmla="*/ 0 w 314"/>
                <a:gd name="T13" fmla="*/ 279 h 539"/>
                <a:gd name="T14" fmla="*/ 2 w 314"/>
                <a:gd name="T15" fmla="*/ 293 h 539"/>
                <a:gd name="T16" fmla="*/ 10 w 314"/>
                <a:gd name="T17" fmla="*/ 316 h 539"/>
                <a:gd name="T18" fmla="*/ 28 w 314"/>
                <a:gd name="T19" fmla="*/ 336 h 539"/>
                <a:gd name="T20" fmla="*/ 50 w 314"/>
                <a:gd name="T21" fmla="*/ 349 h 539"/>
                <a:gd name="T22" fmla="*/ 63 w 314"/>
                <a:gd name="T23" fmla="*/ 539 h 539"/>
                <a:gd name="T24" fmla="*/ 115 w 314"/>
                <a:gd name="T25" fmla="*/ 301 h 539"/>
                <a:gd name="T26" fmla="*/ 75 w 314"/>
                <a:gd name="T27" fmla="*/ 301 h 539"/>
                <a:gd name="T28" fmla="*/ 67 w 314"/>
                <a:gd name="T29" fmla="*/ 300 h 539"/>
                <a:gd name="T30" fmla="*/ 59 w 314"/>
                <a:gd name="T31" fmla="*/ 295 h 539"/>
                <a:gd name="T32" fmla="*/ 55 w 314"/>
                <a:gd name="T33" fmla="*/ 288 h 539"/>
                <a:gd name="T34" fmla="*/ 53 w 314"/>
                <a:gd name="T35" fmla="*/ 279 h 539"/>
                <a:gd name="T36" fmla="*/ 53 w 314"/>
                <a:gd name="T37" fmla="*/ 75 h 539"/>
                <a:gd name="T38" fmla="*/ 55 w 314"/>
                <a:gd name="T39" fmla="*/ 66 h 539"/>
                <a:gd name="T40" fmla="*/ 59 w 314"/>
                <a:gd name="T41" fmla="*/ 60 h 539"/>
                <a:gd name="T42" fmla="*/ 67 w 314"/>
                <a:gd name="T43" fmla="*/ 55 h 539"/>
                <a:gd name="T44" fmla="*/ 75 w 314"/>
                <a:gd name="T45" fmla="*/ 52 h 539"/>
                <a:gd name="T46" fmla="*/ 239 w 314"/>
                <a:gd name="T47" fmla="*/ 52 h 539"/>
                <a:gd name="T48" fmla="*/ 248 w 314"/>
                <a:gd name="T49" fmla="*/ 55 h 539"/>
                <a:gd name="T50" fmla="*/ 254 w 314"/>
                <a:gd name="T51" fmla="*/ 60 h 539"/>
                <a:gd name="T52" fmla="*/ 259 w 314"/>
                <a:gd name="T53" fmla="*/ 66 h 539"/>
                <a:gd name="T54" fmla="*/ 262 w 314"/>
                <a:gd name="T55" fmla="*/ 75 h 539"/>
                <a:gd name="T56" fmla="*/ 262 w 314"/>
                <a:gd name="T57" fmla="*/ 279 h 539"/>
                <a:gd name="T58" fmla="*/ 259 w 314"/>
                <a:gd name="T59" fmla="*/ 288 h 539"/>
                <a:gd name="T60" fmla="*/ 254 w 314"/>
                <a:gd name="T61" fmla="*/ 295 h 539"/>
                <a:gd name="T62" fmla="*/ 248 w 314"/>
                <a:gd name="T63" fmla="*/ 300 h 539"/>
                <a:gd name="T64" fmla="*/ 239 w 314"/>
                <a:gd name="T65" fmla="*/ 301 h 539"/>
                <a:gd name="T66" fmla="*/ 199 w 314"/>
                <a:gd name="T67" fmla="*/ 539 h 539"/>
                <a:gd name="T68" fmla="*/ 252 w 314"/>
                <a:gd name="T69" fmla="*/ 353 h 539"/>
                <a:gd name="T70" fmla="*/ 264 w 314"/>
                <a:gd name="T71" fmla="*/ 349 h 539"/>
                <a:gd name="T72" fmla="*/ 287 w 314"/>
                <a:gd name="T73" fmla="*/ 336 h 539"/>
                <a:gd name="T74" fmla="*/ 303 w 314"/>
                <a:gd name="T75" fmla="*/ 316 h 539"/>
                <a:gd name="T76" fmla="*/ 313 w 314"/>
                <a:gd name="T77" fmla="*/ 293 h 539"/>
                <a:gd name="T78" fmla="*/ 314 w 314"/>
                <a:gd name="T79" fmla="*/ 75 h 539"/>
                <a:gd name="T80" fmla="*/ 313 w 314"/>
                <a:gd name="T81" fmla="*/ 67 h 539"/>
                <a:gd name="T82" fmla="*/ 308 w 314"/>
                <a:gd name="T83" fmla="*/ 46 h 539"/>
                <a:gd name="T84" fmla="*/ 292 w 314"/>
                <a:gd name="T85" fmla="*/ 22 h 539"/>
                <a:gd name="T86" fmla="*/ 268 w 314"/>
                <a:gd name="T87" fmla="*/ 6 h 539"/>
                <a:gd name="T88" fmla="*/ 247 w 314"/>
                <a:gd name="T89" fmla="*/ 1 h 539"/>
                <a:gd name="T90" fmla="*/ 239 w 314"/>
                <a:gd name="T91" fmla="*/ 0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4" h="539">
                  <a:moveTo>
                    <a:pt x="239" y="0"/>
                  </a:moveTo>
                  <a:lnTo>
                    <a:pt x="75" y="0"/>
                  </a:lnTo>
                  <a:lnTo>
                    <a:pt x="75" y="0"/>
                  </a:lnTo>
                  <a:lnTo>
                    <a:pt x="68" y="1"/>
                  </a:lnTo>
                  <a:lnTo>
                    <a:pt x="60" y="1"/>
                  </a:lnTo>
                  <a:lnTo>
                    <a:pt x="47" y="6"/>
                  </a:lnTo>
                  <a:lnTo>
                    <a:pt x="34" y="12"/>
                  </a:lnTo>
                  <a:lnTo>
                    <a:pt x="23" y="22"/>
                  </a:lnTo>
                  <a:lnTo>
                    <a:pt x="13" y="34"/>
                  </a:lnTo>
                  <a:lnTo>
                    <a:pt x="7" y="46"/>
                  </a:lnTo>
                  <a:lnTo>
                    <a:pt x="2" y="60"/>
                  </a:lnTo>
                  <a:lnTo>
                    <a:pt x="0" y="67"/>
                  </a:lnTo>
                  <a:lnTo>
                    <a:pt x="0" y="75"/>
                  </a:lnTo>
                  <a:lnTo>
                    <a:pt x="0" y="279"/>
                  </a:lnTo>
                  <a:lnTo>
                    <a:pt x="0" y="279"/>
                  </a:lnTo>
                  <a:lnTo>
                    <a:pt x="2" y="293"/>
                  </a:lnTo>
                  <a:lnTo>
                    <a:pt x="5" y="305"/>
                  </a:lnTo>
                  <a:lnTo>
                    <a:pt x="10" y="316"/>
                  </a:lnTo>
                  <a:lnTo>
                    <a:pt x="18" y="328"/>
                  </a:lnTo>
                  <a:lnTo>
                    <a:pt x="28" y="336"/>
                  </a:lnTo>
                  <a:lnTo>
                    <a:pt x="38" y="344"/>
                  </a:lnTo>
                  <a:lnTo>
                    <a:pt x="50" y="349"/>
                  </a:lnTo>
                  <a:lnTo>
                    <a:pt x="63" y="353"/>
                  </a:lnTo>
                  <a:lnTo>
                    <a:pt x="63" y="539"/>
                  </a:lnTo>
                  <a:lnTo>
                    <a:pt x="115" y="539"/>
                  </a:lnTo>
                  <a:lnTo>
                    <a:pt x="115" y="301"/>
                  </a:lnTo>
                  <a:lnTo>
                    <a:pt x="75" y="301"/>
                  </a:lnTo>
                  <a:lnTo>
                    <a:pt x="75" y="301"/>
                  </a:lnTo>
                  <a:lnTo>
                    <a:pt x="70" y="301"/>
                  </a:lnTo>
                  <a:lnTo>
                    <a:pt x="67" y="300"/>
                  </a:lnTo>
                  <a:lnTo>
                    <a:pt x="63" y="298"/>
                  </a:lnTo>
                  <a:lnTo>
                    <a:pt x="59" y="295"/>
                  </a:lnTo>
                  <a:lnTo>
                    <a:pt x="57" y="291"/>
                  </a:lnTo>
                  <a:lnTo>
                    <a:pt x="55" y="288"/>
                  </a:lnTo>
                  <a:lnTo>
                    <a:pt x="53" y="284"/>
                  </a:lnTo>
                  <a:lnTo>
                    <a:pt x="53" y="279"/>
                  </a:lnTo>
                  <a:lnTo>
                    <a:pt x="53" y="75"/>
                  </a:lnTo>
                  <a:lnTo>
                    <a:pt x="53" y="75"/>
                  </a:lnTo>
                  <a:lnTo>
                    <a:pt x="53" y="71"/>
                  </a:lnTo>
                  <a:lnTo>
                    <a:pt x="55" y="66"/>
                  </a:lnTo>
                  <a:lnTo>
                    <a:pt x="57" y="62"/>
                  </a:lnTo>
                  <a:lnTo>
                    <a:pt x="59" y="60"/>
                  </a:lnTo>
                  <a:lnTo>
                    <a:pt x="63" y="56"/>
                  </a:lnTo>
                  <a:lnTo>
                    <a:pt x="67" y="55"/>
                  </a:lnTo>
                  <a:lnTo>
                    <a:pt x="70" y="54"/>
                  </a:lnTo>
                  <a:lnTo>
                    <a:pt x="75" y="52"/>
                  </a:lnTo>
                  <a:lnTo>
                    <a:pt x="239" y="52"/>
                  </a:lnTo>
                  <a:lnTo>
                    <a:pt x="239" y="52"/>
                  </a:lnTo>
                  <a:lnTo>
                    <a:pt x="243" y="54"/>
                  </a:lnTo>
                  <a:lnTo>
                    <a:pt x="248" y="55"/>
                  </a:lnTo>
                  <a:lnTo>
                    <a:pt x="252" y="56"/>
                  </a:lnTo>
                  <a:lnTo>
                    <a:pt x="254" y="60"/>
                  </a:lnTo>
                  <a:lnTo>
                    <a:pt x="257" y="62"/>
                  </a:lnTo>
                  <a:lnTo>
                    <a:pt x="259" y="66"/>
                  </a:lnTo>
                  <a:lnTo>
                    <a:pt x="261" y="71"/>
                  </a:lnTo>
                  <a:lnTo>
                    <a:pt x="262" y="75"/>
                  </a:lnTo>
                  <a:lnTo>
                    <a:pt x="262" y="279"/>
                  </a:lnTo>
                  <a:lnTo>
                    <a:pt x="262" y="279"/>
                  </a:lnTo>
                  <a:lnTo>
                    <a:pt x="261" y="284"/>
                  </a:lnTo>
                  <a:lnTo>
                    <a:pt x="259" y="288"/>
                  </a:lnTo>
                  <a:lnTo>
                    <a:pt x="257" y="291"/>
                  </a:lnTo>
                  <a:lnTo>
                    <a:pt x="254" y="295"/>
                  </a:lnTo>
                  <a:lnTo>
                    <a:pt x="252" y="298"/>
                  </a:lnTo>
                  <a:lnTo>
                    <a:pt x="248" y="300"/>
                  </a:lnTo>
                  <a:lnTo>
                    <a:pt x="243" y="301"/>
                  </a:lnTo>
                  <a:lnTo>
                    <a:pt x="239" y="301"/>
                  </a:lnTo>
                  <a:lnTo>
                    <a:pt x="199" y="301"/>
                  </a:lnTo>
                  <a:lnTo>
                    <a:pt x="199" y="539"/>
                  </a:lnTo>
                  <a:lnTo>
                    <a:pt x="252" y="539"/>
                  </a:lnTo>
                  <a:lnTo>
                    <a:pt x="252" y="353"/>
                  </a:lnTo>
                  <a:lnTo>
                    <a:pt x="252" y="353"/>
                  </a:lnTo>
                  <a:lnTo>
                    <a:pt x="264" y="349"/>
                  </a:lnTo>
                  <a:lnTo>
                    <a:pt x="277" y="344"/>
                  </a:lnTo>
                  <a:lnTo>
                    <a:pt x="287" y="336"/>
                  </a:lnTo>
                  <a:lnTo>
                    <a:pt x="296" y="328"/>
                  </a:lnTo>
                  <a:lnTo>
                    <a:pt x="303" y="316"/>
                  </a:lnTo>
                  <a:lnTo>
                    <a:pt x="309" y="305"/>
                  </a:lnTo>
                  <a:lnTo>
                    <a:pt x="313" y="293"/>
                  </a:lnTo>
                  <a:lnTo>
                    <a:pt x="314" y="279"/>
                  </a:lnTo>
                  <a:lnTo>
                    <a:pt x="314" y="75"/>
                  </a:lnTo>
                  <a:lnTo>
                    <a:pt x="314" y="75"/>
                  </a:lnTo>
                  <a:lnTo>
                    <a:pt x="313" y="67"/>
                  </a:lnTo>
                  <a:lnTo>
                    <a:pt x="312" y="60"/>
                  </a:lnTo>
                  <a:lnTo>
                    <a:pt x="308" y="46"/>
                  </a:lnTo>
                  <a:lnTo>
                    <a:pt x="301" y="34"/>
                  </a:lnTo>
                  <a:lnTo>
                    <a:pt x="292" y="22"/>
                  </a:lnTo>
                  <a:lnTo>
                    <a:pt x="281" y="12"/>
                  </a:lnTo>
                  <a:lnTo>
                    <a:pt x="268" y="6"/>
                  </a:lnTo>
                  <a:lnTo>
                    <a:pt x="254" y="1"/>
                  </a:lnTo>
                  <a:lnTo>
                    <a:pt x="247" y="1"/>
                  </a:lnTo>
                  <a:lnTo>
                    <a:pt x="239" y="0"/>
                  </a:lnTo>
                  <a:lnTo>
                    <a:pt x="23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chemeClr val="bg1"/>
                </a:solidFill>
              </a:endParaRPr>
            </a:p>
          </p:txBody>
        </p:sp>
        <p:sp>
          <p:nvSpPr>
            <p:cNvPr id="61" name="Freeform 61"/>
            <p:cNvSpPr>
              <a:spLocks/>
            </p:cNvSpPr>
            <p:nvPr/>
          </p:nvSpPr>
          <p:spPr bwMode="auto">
            <a:xfrm>
              <a:off x="1912938" y="2470151"/>
              <a:ext cx="317500" cy="95250"/>
            </a:xfrm>
            <a:custGeom>
              <a:avLst/>
              <a:gdLst>
                <a:gd name="T0" fmla="*/ 0 w 803"/>
                <a:gd name="T1" fmla="*/ 240 h 240"/>
                <a:gd name="T2" fmla="*/ 0 w 803"/>
                <a:gd name="T3" fmla="*/ 137 h 240"/>
                <a:gd name="T4" fmla="*/ 2 w 803"/>
                <a:gd name="T5" fmla="*/ 127 h 240"/>
                <a:gd name="T6" fmla="*/ 8 w 803"/>
                <a:gd name="T7" fmla="*/ 119 h 240"/>
                <a:gd name="T8" fmla="*/ 15 w 803"/>
                <a:gd name="T9" fmla="*/ 112 h 240"/>
                <a:gd name="T10" fmla="*/ 27 w 803"/>
                <a:gd name="T11" fmla="*/ 111 h 240"/>
                <a:gd name="T12" fmla="*/ 242 w 803"/>
                <a:gd name="T13" fmla="*/ 26 h 240"/>
                <a:gd name="T14" fmla="*/ 242 w 803"/>
                <a:gd name="T15" fmla="*/ 21 h 240"/>
                <a:gd name="T16" fmla="*/ 246 w 803"/>
                <a:gd name="T17" fmla="*/ 11 h 240"/>
                <a:gd name="T18" fmla="*/ 253 w 803"/>
                <a:gd name="T19" fmla="*/ 5 h 240"/>
                <a:gd name="T20" fmla="*/ 263 w 803"/>
                <a:gd name="T21" fmla="*/ 1 h 240"/>
                <a:gd name="T22" fmla="*/ 535 w 803"/>
                <a:gd name="T23" fmla="*/ 0 h 240"/>
                <a:gd name="T24" fmla="*/ 540 w 803"/>
                <a:gd name="T25" fmla="*/ 1 h 240"/>
                <a:gd name="T26" fmla="*/ 549 w 803"/>
                <a:gd name="T27" fmla="*/ 5 h 240"/>
                <a:gd name="T28" fmla="*/ 556 w 803"/>
                <a:gd name="T29" fmla="*/ 11 h 240"/>
                <a:gd name="T30" fmla="*/ 560 w 803"/>
                <a:gd name="T31" fmla="*/ 21 h 240"/>
                <a:gd name="T32" fmla="*/ 561 w 803"/>
                <a:gd name="T33" fmla="*/ 110 h 240"/>
                <a:gd name="T34" fmla="*/ 776 w 803"/>
                <a:gd name="T35" fmla="*/ 110 h 240"/>
                <a:gd name="T36" fmla="*/ 786 w 803"/>
                <a:gd name="T37" fmla="*/ 112 h 240"/>
                <a:gd name="T38" fmla="*/ 794 w 803"/>
                <a:gd name="T39" fmla="*/ 117 h 240"/>
                <a:gd name="T40" fmla="*/ 800 w 803"/>
                <a:gd name="T41" fmla="*/ 126 h 240"/>
                <a:gd name="T42" fmla="*/ 803 w 803"/>
                <a:gd name="T43" fmla="*/ 136 h 240"/>
                <a:gd name="T44" fmla="*/ 750 w 803"/>
                <a:gd name="T45" fmla="*/ 239 h 240"/>
                <a:gd name="T46" fmla="*/ 535 w 803"/>
                <a:gd name="T47" fmla="*/ 162 h 240"/>
                <a:gd name="T48" fmla="*/ 529 w 803"/>
                <a:gd name="T49" fmla="*/ 161 h 240"/>
                <a:gd name="T50" fmla="*/ 520 w 803"/>
                <a:gd name="T51" fmla="*/ 157 h 240"/>
                <a:gd name="T52" fmla="*/ 512 w 803"/>
                <a:gd name="T53" fmla="*/ 151 h 240"/>
                <a:gd name="T54" fmla="*/ 509 w 803"/>
                <a:gd name="T55" fmla="*/ 141 h 240"/>
                <a:gd name="T56" fmla="*/ 509 w 803"/>
                <a:gd name="T57" fmla="*/ 52 h 240"/>
                <a:gd name="T58" fmla="*/ 295 w 803"/>
                <a:gd name="T59" fmla="*/ 137 h 240"/>
                <a:gd name="T60" fmla="*/ 293 w 803"/>
                <a:gd name="T61" fmla="*/ 142 h 240"/>
                <a:gd name="T62" fmla="*/ 290 w 803"/>
                <a:gd name="T63" fmla="*/ 152 h 240"/>
                <a:gd name="T64" fmla="*/ 282 w 803"/>
                <a:gd name="T65" fmla="*/ 159 h 240"/>
                <a:gd name="T66" fmla="*/ 273 w 803"/>
                <a:gd name="T67" fmla="*/ 162 h 240"/>
                <a:gd name="T68" fmla="*/ 53 w 803"/>
                <a:gd name="T69" fmla="*/ 164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03" h="240">
                  <a:moveTo>
                    <a:pt x="53" y="240"/>
                  </a:moveTo>
                  <a:lnTo>
                    <a:pt x="0" y="240"/>
                  </a:lnTo>
                  <a:lnTo>
                    <a:pt x="0" y="137"/>
                  </a:lnTo>
                  <a:lnTo>
                    <a:pt x="0" y="137"/>
                  </a:lnTo>
                  <a:lnTo>
                    <a:pt x="0" y="132"/>
                  </a:lnTo>
                  <a:lnTo>
                    <a:pt x="2" y="127"/>
                  </a:lnTo>
                  <a:lnTo>
                    <a:pt x="4" y="122"/>
                  </a:lnTo>
                  <a:lnTo>
                    <a:pt x="8" y="119"/>
                  </a:lnTo>
                  <a:lnTo>
                    <a:pt x="12" y="115"/>
                  </a:lnTo>
                  <a:lnTo>
                    <a:pt x="15" y="112"/>
                  </a:lnTo>
                  <a:lnTo>
                    <a:pt x="20" y="111"/>
                  </a:lnTo>
                  <a:lnTo>
                    <a:pt x="27" y="111"/>
                  </a:lnTo>
                  <a:lnTo>
                    <a:pt x="242" y="111"/>
                  </a:lnTo>
                  <a:lnTo>
                    <a:pt x="242" y="26"/>
                  </a:lnTo>
                  <a:lnTo>
                    <a:pt x="242" y="26"/>
                  </a:lnTo>
                  <a:lnTo>
                    <a:pt x="242" y="21"/>
                  </a:lnTo>
                  <a:lnTo>
                    <a:pt x="243" y="16"/>
                  </a:lnTo>
                  <a:lnTo>
                    <a:pt x="246" y="11"/>
                  </a:lnTo>
                  <a:lnTo>
                    <a:pt x="250" y="7"/>
                  </a:lnTo>
                  <a:lnTo>
                    <a:pt x="253" y="5"/>
                  </a:lnTo>
                  <a:lnTo>
                    <a:pt x="258" y="2"/>
                  </a:lnTo>
                  <a:lnTo>
                    <a:pt x="263" y="1"/>
                  </a:lnTo>
                  <a:lnTo>
                    <a:pt x="268" y="0"/>
                  </a:lnTo>
                  <a:lnTo>
                    <a:pt x="535" y="0"/>
                  </a:lnTo>
                  <a:lnTo>
                    <a:pt x="535" y="0"/>
                  </a:lnTo>
                  <a:lnTo>
                    <a:pt x="540" y="1"/>
                  </a:lnTo>
                  <a:lnTo>
                    <a:pt x="545" y="2"/>
                  </a:lnTo>
                  <a:lnTo>
                    <a:pt x="549" y="5"/>
                  </a:lnTo>
                  <a:lnTo>
                    <a:pt x="554" y="7"/>
                  </a:lnTo>
                  <a:lnTo>
                    <a:pt x="556" y="11"/>
                  </a:lnTo>
                  <a:lnTo>
                    <a:pt x="559" y="16"/>
                  </a:lnTo>
                  <a:lnTo>
                    <a:pt x="560" y="21"/>
                  </a:lnTo>
                  <a:lnTo>
                    <a:pt x="561" y="26"/>
                  </a:lnTo>
                  <a:lnTo>
                    <a:pt x="561" y="110"/>
                  </a:lnTo>
                  <a:lnTo>
                    <a:pt x="776" y="110"/>
                  </a:lnTo>
                  <a:lnTo>
                    <a:pt x="776" y="110"/>
                  </a:lnTo>
                  <a:lnTo>
                    <a:pt x="781" y="110"/>
                  </a:lnTo>
                  <a:lnTo>
                    <a:pt x="786" y="112"/>
                  </a:lnTo>
                  <a:lnTo>
                    <a:pt x="790" y="114"/>
                  </a:lnTo>
                  <a:lnTo>
                    <a:pt x="794" y="117"/>
                  </a:lnTo>
                  <a:lnTo>
                    <a:pt x="798" y="121"/>
                  </a:lnTo>
                  <a:lnTo>
                    <a:pt x="800" y="126"/>
                  </a:lnTo>
                  <a:lnTo>
                    <a:pt x="801" y="131"/>
                  </a:lnTo>
                  <a:lnTo>
                    <a:pt x="803" y="136"/>
                  </a:lnTo>
                  <a:lnTo>
                    <a:pt x="803" y="239"/>
                  </a:lnTo>
                  <a:lnTo>
                    <a:pt x="750" y="239"/>
                  </a:lnTo>
                  <a:lnTo>
                    <a:pt x="750" y="162"/>
                  </a:lnTo>
                  <a:lnTo>
                    <a:pt x="535" y="162"/>
                  </a:lnTo>
                  <a:lnTo>
                    <a:pt x="535" y="162"/>
                  </a:lnTo>
                  <a:lnTo>
                    <a:pt x="529" y="161"/>
                  </a:lnTo>
                  <a:lnTo>
                    <a:pt x="525" y="160"/>
                  </a:lnTo>
                  <a:lnTo>
                    <a:pt x="520" y="157"/>
                  </a:lnTo>
                  <a:lnTo>
                    <a:pt x="516" y="155"/>
                  </a:lnTo>
                  <a:lnTo>
                    <a:pt x="512" y="151"/>
                  </a:lnTo>
                  <a:lnTo>
                    <a:pt x="510" y="146"/>
                  </a:lnTo>
                  <a:lnTo>
                    <a:pt x="509" y="141"/>
                  </a:lnTo>
                  <a:lnTo>
                    <a:pt x="509" y="136"/>
                  </a:lnTo>
                  <a:lnTo>
                    <a:pt x="509" y="52"/>
                  </a:lnTo>
                  <a:lnTo>
                    <a:pt x="295" y="52"/>
                  </a:lnTo>
                  <a:lnTo>
                    <a:pt x="295" y="137"/>
                  </a:lnTo>
                  <a:lnTo>
                    <a:pt x="295" y="137"/>
                  </a:lnTo>
                  <a:lnTo>
                    <a:pt x="293" y="142"/>
                  </a:lnTo>
                  <a:lnTo>
                    <a:pt x="292" y="147"/>
                  </a:lnTo>
                  <a:lnTo>
                    <a:pt x="290" y="152"/>
                  </a:lnTo>
                  <a:lnTo>
                    <a:pt x="287" y="156"/>
                  </a:lnTo>
                  <a:lnTo>
                    <a:pt x="282" y="159"/>
                  </a:lnTo>
                  <a:lnTo>
                    <a:pt x="278" y="161"/>
                  </a:lnTo>
                  <a:lnTo>
                    <a:pt x="273" y="162"/>
                  </a:lnTo>
                  <a:lnTo>
                    <a:pt x="268" y="164"/>
                  </a:lnTo>
                  <a:lnTo>
                    <a:pt x="53" y="164"/>
                  </a:lnTo>
                  <a:lnTo>
                    <a:pt x="53"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chemeClr val="bg1"/>
                </a:solidFill>
              </a:endParaRPr>
            </a:p>
          </p:txBody>
        </p:sp>
        <p:sp>
          <p:nvSpPr>
            <p:cNvPr id="62" name="Freeform 62"/>
            <p:cNvSpPr>
              <a:spLocks noEditPoints="1"/>
            </p:cNvSpPr>
            <p:nvPr/>
          </p:nvSpPr>
          <p:spPr bwMode="auto">
            <a:xfrm>
              <a:off x="2027238" y="2133601"/>
              <a:ext cx="82550" cy="82550"/>
            </a:xfrm>
            <a:custGeom>
              <a:avLst/>
              <a:gdLst>
                <a:gd name="T0" fmla="*/ 105 w 210"/>
                <a:gd name="T1" fmla="*/ 0 h 210"/>
                <a:gd name="T2" fmla="*/ 83 w 210"/>
                <a:gd name="T3" fmla="*/ 3 h 210"/>
                <a:gd name="T4" fmla="*/ 65 w 210"/>
                <a:gd name="T5" fmla="*/ 9 h 210"/>
                <a:gd name="T6" fmla="*/ 46 w 210"/>
                <a:gd name="T7" fmla="*/ 19 h 210"/>
                <a:gd name="T8" fmla="*/ 31 w 210"/>
                <a:gd name="T9" fmla="*/ 32 h 210"/>
                <a:gd name="T10" fmla="*/ 18 w 210"/>
                <a:gd name="T11" fmla="*/ 47 h 210"/>
                <a:gd name="T12" fmla="*/ 8 w 210"/>
                <a:gd name="T13" fmla="*/ 65 h 210"/>
                <a:gd name="T14" fmla="*/ 2 w 210"/>
                <a:gd name="T15" fmla="*/ 84 h 210"/>
                <a:gd name="T16" fmla="*/ 0 w 210"/>
                <a:gd name="T17" fmla="*/ 105 h 210"/>
                <a:gd name="T18" fmla="*/ 1 w 210"/>
                <a:gd name="T19" fmla="*/ 117 h 210"/>
                <a:gd name="T20" fmla="*/ 5 w 210"/>
                <a:gd name="T21" fmla="*/ 137 h 210"/>
                <a:gd name="T22" fmla="*/ 12 w 210"/>
                <a:gd name="T23" fmla="*/ 155 h 210"/>
                <a:gd name="T24" fmla="*/ 23 w 210"/>
                <a:gd name="T25" fmla="*/ 173 h 210"/>
                <a:gd name="T26" fmla="*/ 38 w 210"/>
                <a:gd name="T27" fmla="*/ 187 h 210"/>
                <a:gd name="T28" fmla="*/ 55 w 210"/>
                <a:gd name="T29" fmla="*/ 198 h 210"/>
                <a:gd name="T30" fmla="*/ 73 w 210"/>
                <a:gd name="T31" fmla="*/ 207 h 210"/>
                <a:gd name="T32" fmla="*/ 95 w 210"/>
                <a:gd name="T33" fmla="*/ 210 h 210"/>
                <a:gd name="T34" fmla="*/ 105 w 210"/>
                <a:gd name="T35" fmla="*/ 210 h 210"/>
                <a:gd name="T36" fmla="*/ 126 w 210"/>
                <a:gd name="T37" fmla="*/ 209 h 210"/>
                <a:gd name="T38" fmla="*/ 146 w 210"/>
                <a:gd name="T39" fmla="*/ 203 h 210"/>
                <a:gd name="T40" fmla="*/ 164 w 210"/>
                <a:gd name="T41" fmla="*/ 193 h 210"/>
                <a:gd name="T42" fmla="*/ 180 w 210"/>
                <a:gd name="T43" fmla="*/ 180 h 210"/>
                <a:gd name="T44" fmla="*/ 192 w 210"/>
                <a:gd name="T45" fmla="*/ 164 h 210"/>
                <a:gd name="T46" fmla="*/ 202 w 210"/>
                <a:gd name="T47" fmla="*/ 147 h 210"/>
                <a:gd name="T48" fmla="*/ 209 w 210"/>
                <a:gd name="T49" fmla="*/ 127 h 210"/>
                <a:gd name="T50" fmla="*/ 210 w 210"/>
                <a:gd name="T51" fmla="*/ 105 h 210"/>
                <a:gd name="T52" fmla="*/ 210 w 210"/>
                <a:gd name="T53" fmla="*/ 95 h 210"/>
                <a:gd name="T54" fmla="*/ 206 w 210"/>
                <a:gd name="T55" fmla="*/ 74 h 210"/>
                <a:gd name="T56" fmla="*/ 197 w 210"/>
                <a:gd name="T57" fmla="*/ 55 h 210"/>
                <a:gd name="T58" fmla="*/ 186 w 210"/>
                <a:gd name="T59" fmla="*/ 39 h 210"/>
                <a:gd name="T60" fmla="*/ 172 w 210"/>
                <a:gd name="T61" fmla="*/ 24 h 210"/>
                <a:gd name="T62" fmla="*/ 155 w 210"/>
                <a:gd name="T63" fmla="*/ 13 h 210"/>
                <a:gd name="T64" fmla="*/ 136 w 210"/>
                <a:gd name="T65" fmla="*/ 5 h 210"/>
                <a:gd name="T66" fmla="*/ 116 w 210"/>
                <a:gd name="T67" fmla="*/ 1 h 210"/>
                <a:gd name="T68" fmla="*/ 105 w 210"/>
                <a:gd name="T69" fmla="*/ 0 h 210"/>
                <a:gd name="T70" fmla="*/ 105 w 210"/>
                <a:gd name="T71" fmla="*/ 158 h 210"/>
                <a:gd name="T72" fmla="*/ 85 w 210"/>
                <a:gd name="T73" fmla="*/ 154 h 210"/>
                <a:gd name="T74" fmla="*/ 68 w 210"/>
                <a:gd name="T75" fmla="*/ 143 h 210"/>
                <a:gd name="T76" fmla="*/ 57 w 210"/>
                <a:gd name="T77" fmla="*/ 127 h 210"/>
                <a:gd name="T78" fmla="*/ 52 w 210"/>
                <a:gd name="T79" fmla="*/ 105 h 210"/>
                <a:gd name="T80" fmla="*/ 53 w 210"/>
                <a:gd name="T81" fmla="*/ 95 h 210"/>
                <a:gd name="T82" fmla="*/ 61 w 210"/>
                <a:gd name="T83" fmla="*/ 77 h 210"/>
                <a:gd name="T84" fmla="*/ 76 w 210"/>
                <a:gd name="T85" fmla="*/ 62 h 210"/>
                <a:gd name="T86" fmla="*/ 95 w 210"/>
                <a:gd name="T87" fmla="*/ 54 h 210"/>
                <a:gd name="T88" fmla="*/ 105 w 210"/>
                <a:gd name="T89" fmla="*/ 53 h 210"/>
                <a:gd name="T90" fmla="*/ 126 w 210"/>
                <a:gd name="T91" fmla="*/ 58 h 210"/>
                <a:gd name="T92" fmla="*/ 142 w 210"/>
                <a:gd name="T93" fmla="*/ 69 h 210"/>
                <a:gd name="T94" fmla="*/ 154 w 210"/>
                <a:gd name="T95" fmla="*/ 85 h 210"/>
                <a:gd name="T96" fmla="*/ 157 w 210"/>
                <a:gd name="T97" fmla="*/ 105 h 210"/>
                <a:gd name="T98" fmla="*/ 157 w 210"/>
                <a:gd name="T99" fmla="*/ 117 h 210"/>
                <a:gd name="T100" fmla="*/ 149 w 210"/>
                <a:gd name="T101" fmla="*/ 135 h 210"/>
                <a:gd name="T102" fmla="*/ 135 w 210"/>
                <a:gd name="T103" fmla="*/ 149 h 210"/>
                <a:gd name="T104" fmla="*/ 116 w 210"/>
                <a:gd name="T105" fmla="*/ 158 h 210"/>
                <a:gd name="T106" fmla="*/ 105 w 210"/>
                <a:gd name="T107" fmla="*/ 1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10" h="210">
                  <a:moveTo>
                    <a:pt x="105" y="0"/>
                  </a:moveTo>
                  <a:lnTo>
                    <a:pt x="105" y="0"/>
                  </a:lnTo>
                  <a:lnTo>
                    <a:pt x="95" y="1"/>
                  </a:lnTo>
                  <a:lnTo>
                    <a:pt x="83" y="3"/>
                  </a:lnTo>
                  <a:lnTo>
                    <a:pt x="73" y="5"/>
                  </a:lnTo>
                  <a:lnTo>
                    <a:pt x="65" y="9"/>
                  </a:lnTo>
                  <a:lnTo>
                    <a:pt x="55" y="13"/>
                  </a:lnTo>
                  <a:lnTo>
                    <a:pt x="46" y="19"/>
                  </a:lnTo>
                  <a:lnTo>
                    <a:pt x="38" y="24"/>
                  </a:lnTo>
                  <a:lnTo>
                    <a:pt x="31" y="32"/>
                  </a:lnTo>
                  <a:lnTo>
                    <a:pt x="23" y="39"/>
                  </a:lnTo>
                  <a:lnTo>
                    <a:pt x="18" y="47"/>
                  </a:lnTo>
                  <a:lnTo>
                    <a:pt x="12" y="55"/>
                  </a:lnTo>
                  <a:lnTo>
                    <a:pt x="8" y="65"/>
                  </a:lnTo>
                  <a:lnTo>
                    <a:pt x="5" y="74"/>
                  </a:lnTo>
                  <a:lnTo>
                    <a:pt x="2" y="84"/>
                  </a:lnTo>
                  <a:lnTo>
                    <a:pt x="1" y="95"/>
                  </a:lnTo>
                  <a:lnTo>
                    <a:pt x="0" y="105"/>
                  </a:lnTo>
                  <a:lnTo>
                    <a:pt x="0" y="105"/>
                  </a:lnTo>
                  <a:lnTo>
                    <a:pt x="1" y="117"/>
                  </a:lnTo>
                  <a:lnTo>
                    <a:pt x="2" y="127"/>
                  </a:lnTo>
                  <a:lnTo>
                    <a:pt x="5" y="137"/>
                  </a:lnTo>
                  <a:lnTo>
                    <a:pt x="8" y="147"/>
                  </a:lnTo>
                  <a:lnTo>
                    <a:pt x="12" y="155"/>
                  </a:lnTo>
                  <a:lnTo>
                    <a:pt x="18" y="164"/>
                  </a:lnTo>
                  <a:lnTo>
                    <a:pt x="23" y="173"/>
                  </a:lnTo>
                  <a:lnTo>
                    <a:pt x="31" y="180"/>
                  </a:lnTo>
                  <a:lnTo>
                    <a:pt x="38" y="187"/>
                  </a:lnTo>
                  <a:lnTo>
                    <a:pt x="46" y="193"/>
                  </a:lnTo>
                  <a:lnTo>
                    <a:pt x="55" y="198"/>
                  </a:lnTo>
                  <a:lnTo>
                    <a:pt x="65" y="203"/>
                  </a:lnTo>
                  <a:lnTo>
                    <a:pt x="73" y="207"/>
                  </a:lnTo>
                  <a:lnTo>
                    <a:pt x="83" y="209"/>
                  </a:lnTo>
                  <a:lnTo>
                    <a:pt x="95" y="210"/>
                  </a:lnTo>
                  <a:lnTo>
                    <a:pt x="105" y="210"/>
                  </a:lnTo>
                  <a:lnTo>
                    <a:pt x="105" y="210"/>
                  </a:lnTo>
                  <a:lnTo>
                    <a:pt x="116" y="210"/>
                  </a:lnTo>
                  <a:lnTo>
                    <a:pt x="126" y="209"/>
                  </a:lnTo>
                  <a:lnTo>
                    <a:pt x="136" y="207"/>
                  </a:lnTo>
                  <a:lnTo>
                    <a:pt x="146" y="203"/>
                  </a:lnTo>
                  <a:lnTo>
                    <a:pt x="155" y="198"/>
                  </a:lnTo>
                  <a:lnTo>
                    <a:pt x="164" y="193"/>
                  </a:lnTo>
                  <a:lnTo>
                    <a:pt x="172" y="187"/>
                  </a:lnTo>
                  <a:lnTo>
                    <a:pt x="180" y="180"/>
                  </a:lnTo>
                  <a:lnTo>
                    <a:pt x="186" y="173"/>
                  </a:lnTo>
                  <a:lnTo>
                    <a:pt x="192" y="164"/>
                  </a:lnTo>
                  <a:lnTo>
                    <a:pt x="197" y="155"/>
                  </a:lnTo>
                  <a:lnTo>
                    <a:pt x="202" y="147"/>
                  </a:lnTo>
                  <a:lnTo>
                    <a:pt x="206" y="137"/>
                  </a:lnTo>
                  <a:lnTo>
                    <a:pt x="209" y="127"/>
                  </a:lnTo>
                  <a:lnTo>
                    <a:pt x="210" y="117"/>
                  </a:lnTo>
                  <a:lnTo>
                    <a:pt x="210" y="105"/>
                  </a:lnTo>
                  <a:lnTo>
                    <a:pt x="210" y="105"/>
                  </a:lnTo>
                  <a:lnTo>
                    <a:pt x="210" y="95"/>
                  </a:lnTo>
                  <a:lnTo>
                    <a:pt x="209" y="84"/>
                  </a:lnTo>
                  <a:lnTo>
                    <a:pt x="206" y="74"/>
                  </a:lnTo>
                  <a:lnTo>
                    <a:pt x="202" y="65"/>
                  </a:lnTo>
                  <a:lnTo>
                    <a:pt x="197" y="55"/>
                  </a:lnTo>
                  <a:lnTo>
                    <a:pt x="192" y="47"/>
                  </a:lnTo>
                  <a:lnTo>
                    <a:pt x="186" y="39"/>
                  </a:lnTo>
                  <a:lnTo>
                    <a:pt x="180" y="32"/>
                  </a:lnTo>
                  <a:lnTo>
                    <a:pt x="172" y="24"/>
                  </a:lnTo>
                  <a:lnTo>
                    <a:pt x="164" y="19"/>
                  </a:lnTo>
                  <a:lnTo>
                    <a:pt x="155" y="13"/>
                  </a:lnTo>
                  <a:lnTo>
                    <a:pt x="146" y="9"/>
                  </a:lnTo>
                  <a:lnTo>
                    <a:pt x="136" y="5"/>
                  </a:lnTo>
                  <a:lnTo>
                    <a:pt x="126" y="3"/>
                  </a:lnTo>
                  <a:lnTo>
                    <a:pt x="116" y="1"/>
                  </a:lnTo>
                  <a:lnTo>
                    <a:pt x="105" y="0"/>
                  </a:lnTo>
                  <a:lnTo>
                    <a:pt x="105" y="0"/>
                  </a:lnTo>
                  <a:close/>
                  <a:moveTo>
                    <a:pt x="105" y="158"/>
                  </a:moveTo>
                  <a:lnTo>
                    <a:pt x="105" y="158"/>
                  </a:lnTo>
                  <a:lnTo>
                    <a:pt x="95" y="158"/>
                  </a:lnTo>
                  <a:lnTo>
                    <a:pt x="85" y="154"/>
                  </a:lnTo>
                  <a:lnTo>
                    <a:pt x="76" y="149"/>
                  </a:lnTo>
                  <a:lnTo>
                    <a:pt x="68" y="143"/>
                  </a:lnTo>
                  <a:lnTo>
                    <a:pt x="61" y="135"/>
                  </a:lnTo>
                  <a:lnTo>
                    <a:pt x="57" y="127"/>
                  </a:lnTo>
                  <a:lnTo>
                    <a:pt x="53" y="117"/>
                  </a:lnTo>
                  <a:lnTo>
                    <a:pt x="52" y="105"/>
                  </a:lnTo>
                  <a:lnTo>
                    <a:pt x="52" y="105"/>
                  </a:lnTo>
                  <a:lnTo>
                    <a:pt x="53" y="95"/>
                  </a:lnTo>
                  <a:lnTo>
                    <a:pt x="57" y="85"/>
                  </a:lnTo>
                  <a:lnTo>
                    <a:pt x="61" y="77"/>
                  </a:lnTo>
                  <a:lnTo>
                    <a:pt x="68" y="69"/>
                  </a:lnTo>
                  <a:lnTo>
                    <a:pt x="76" y="62"/>
                  </a:lnTo>
                  <a:lnTo>
                    <a:pt x="85" y="58"/>
                  </a:lnTo>
                  <a:lnTo>
                    <a:pt x="95" y="54"/>
                  </a:lnTo>
                  <a:lnTo>
                    <a:pt x="105" y="53"/>
                  </a:lnTo>
                  <a:lnTo>
                    <a:pt x="105" y="53"/>
                  </a:lnTo>
                  <a:lnTo>
                    <a:pt x="116" y="54"/>
                  </a:lnTo>
                  <a:lnTo>
                    <a:pt x="126" y="58"/>
                  </a:lnTo>
                  <a:lnTo>
                    <a:pt x="135" y="62"/>
                  </a:lnTo>
                  <a:lnTo>
                    <a:pt x="142" y="69"/>
                  </a:lnTo>
                  <a:lnTo>
                    <a:pt x="149" y="77"/>
                  </a:lnTo>
                  <a:lnTo>
                    <a:pt x="154" y="85"/>
                  </a:lnTo>
                  <a:lnTo>
                    <a:pt x="157" y="95"/>
                  </a:lnTo>
                  <a:lnTo>
                    <a:pt x="157" y="105"/>
                  </a:lnTo>
                  <a:lnTo>
                    <a:pt x="157" y="105"/>
                  </a:lnTo>
                  <a:lnTo>
                    <a:pt x="157" y="117"/>
                  </a:lnTo>
                  <a:lnTo>
                    <a:pt x="154" y="127"/>
                  </a:lnTo>
                  <a:lnTo>
                    <a:pt x="149" y="135"/>
                  </a:lnTo>
                  <a:lnTo>
                    <a:pt x="142" y="143"/>
                  </a:lnTo>
                  <a:lnTo>
                    <a:pt x="135" y="149"/>
                  </a:lnTo>
                  <a:lnTo>
                    <a:pt x="126" y="154"/>
                  </a:lnTo>
                  <a:lnTo>
                    <a:pt x="116" y="158"/>
                  </a:lnTo>
                  <a:lnTo>
                    <a:pt x="105" y="158"/>
                  </a:lnTo>
                  <a:lnTo>
                    <a:pt x="105"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solidFill>
                  <a:schemeClr val="bg1"/>
                </a:solidFill>
              </a:endParaRPr>
            </a:p>
          </p:txBody>
        </p:sp>
      </p:grpSp>
      <p:sp>
        <p:nvSpPr>
          <p:cNvPr id="25" name="Slide Number Placeholder 5"/>
          <p:cNvSpPr txBox="1">
            <a:spLocks/>
          </p:cNvSpPr>
          <p:nvPr/>
        </p:nvSpPr>
        <p:spPr>
          <a:xfrm>
            <a:off x="8022388" y="4842922"/>
            <a:ext cx="816812" cy="148595"/>
          </a:xfrm>
          <a:prstGeom prst="rect">
            <a:avLst/>
          </a:prstGeom>
        </p:spPr>
        <p:txBody>
          <a:bodyPr lIns="0" tIns="0" rIns="0" bIns="0"/>
          <a:lstStyle>
            <a:defPPr>
              <a:defRPr lang="en-US"/>
            </a:defPPr>
            <a:lvl1pPr marL="0" algn="l" defTabSz="914400" rtl="0" eaLnBrk="1" latinLnBrk="0" hangingPunct="1">
              <a:defRPr lang="en-US" sz="600" kern="1200" smtClean="0">
                <a:gradFill>
                  <a:gsLst>
                    <a:gs pos="7258">
                      <a:schemeClr val="accent2"/>
                    </a:gs>
                    <a:gs pos="19000">
                      <a:schemeClr val="accent2"/>
                    </a:gs>
                  </a:gsLst>
                  <a:lin ang="5400000" scaled="1"/>
                </a:gradFill>
                <a:latin typeface="Arial" panose="020B0604020202020204" pitchFamily="34" charset="0"/>
                <a:ea typeface="Roboto Light" panose="02000000000000000000" pitchFamily="2"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DDF9B112-49DC-4230-9F1C-96B1FB498A46}" type="slidenum">
              <a:rPr lang="en-US" smtClean="0">
                <a:solidFill>
                  <a:schemeClr val="bg1"/>
                </a:solidFill>
                <a:latin typeface="+mj-lt"/>
              </a:rPr>
              <a:t>4</a:t>
            </a:fld>
            <a:endParaRPr lang="en-US" dirty="0">
              <a:solidFill>
                <a:schemeClr val="bg1"/>
              </a:solidFill>
              <a:latin typeface="+mj-lt"/>
            </a:endParaRPr>
          </a:p>
        </p:txBody>
      </p:sp>
    </p:spTree>
    <p:extLst>
      <p:ext uri="{BB962C8B-B14F-4D97-AF65-F5344CB8AC3E}">
        <p14:creationId xmlns:p14="http://schemas.microsoft.com/office/powerpoint/2010/main" val="3664595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A37C95-3A7F-4C90-9D28-0B573484ACDD}" type="slidenum">
              <a:rPr kumimoji="0" lang="en-US" sz="600" b="0" i="0" u="none" strike="noStrike" kern="1200" cap="none" spc="0" normalizeH="0" baseline="0" noProof="0" smtClean="0">
                <a:ln>
                  <a:noFill/>
                </a:ln>
                <a:gradFill>
                  <a:gsLst>
                    <a:gs pos="7258">
                      <a:srgbClr val="0072C8"/>
                    </a:gs>
                    <a:gs pos="19000">
                      <a:srgbClr val="0072C8"/>
                    </a:gs>
                  </a:gsLst>
                  <a:lin ang="5400000" scaled="1"/>
                </a:gra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600" b="0" i="0" u="none" strike="noStrike" kern="1200" cap="none" spc="0" normalizeH="0" baseline="0" noProof="0">
              <a:ln>
                <a:noFill/>
              </a:ln>
              <a:gradFill>
                <a:gsLst>
                  <a:gs pos="7258">
                    <a:srgbClr val="0072C8"/>
                  </a:gs>
                  <a:gs pos="19000">
                    <a:srgbClr val="0072C8"/>
                  </a:gs>
                </a:gsLst>
                <a:lin ang="5400000" scaled="1"/>
              </a:gradFill>
              <a:effectLst/>
              <a:uLnTx/>
              <a:uFillTx/>
              <a:latin typeface="Arial" panose="020B0604020202020204" pitchFamily="34" charset="0"/>
              <a:cs typeface="Arial" panose="020B0604020202020204" pitchFamily="34" charset="0"/>
            </a:endParaRPr>
          </a:p>
        </p:txBody>
      </p:sp>
      <p:sp>
        <p:nvSpPr>
          <p:cNvPr id="3" name="Text Placeholder 2"/>
          <p:cNvSpPr>
            <a:spLocks noGrp="1"/>
          </p:cNvSpPr>
          <p:nvPr>
            <p:ph type="body" sz="quarter" idx="14"/>
          </p:nvPr>
        </p:nvSpPr>
        <p:spPr>
          <a:xfrm>
            <a:off x="304800" y="322004"/>
            <a:ext cx="8534400" cy="337614"/>
          </a:xfrm>
        </p:spPr>
        <p:txBody>
          <a:bodyPr/>
          <a:lstStyle/>
          <a:p>
            <a:r>
              <a:rPr lang="en-US" dirty="0"/>
              <a:t>Contact, Interaction, Event &amp; Goal</a:t>
            </a:r>
          </a:p>
        </p:txBody>
      </p:sp>
      <p:graphicFrame>
        <p:nvGraphicFramePr>
          <p:cNvPr id="253954" name="Rectangle 2" hidden="1"/>
          <p:cNvGraphicFramePr>
            <a:graphicFrameLocks/>
          </p:cNvGraphicFramePr>
          <p:nvPr>
            <p:custDataLst>
              <p:tags r:id="rId2"/>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spid="_x0000_s1063" name="think-cell Slide" r:id="rId6" imgW="0" imgH="0" progId="">
                  <p:embed/>
                </p:oleObj>
              </mc:Choice>
              <mc:Fallback>
                <p:oleObj name="think-cell Slide" r:id="rId6" imgW="0" imgH="0" progId="">
                  <p:embed/>
                  <p:pic>
                    <p:nvPicPr>
                      <p:cNvPr id="253954"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24" name="Rectangle 23" hidden="1"/>
          <p:cNvSpPr/>
          <p:nvPr>
            <p:custDataLst>
              <p:tags r:id="rId3"/>
            </p:custDataLst>
          </p:nvPr>
        </p:nvSpPr>
        <p:spPr bwMode="auto">
          <a:xfrm>
            <a:off x="1143000" y="0"/>
            <a:ext cx="109538" cy="119063"/>
          </a:xfrm>
          <a:prstGeom prst="rect">
            <a:avLst/>
          </a:prstGeom>
          <a:effec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a:ln>
                  <a:noFill/>
                </a:ln>
                <a:solidFill>
                  <a:srgbClr val="FFFFFF"/>
                </a:solidFill>
                <a:effectLst/>
                <a:uLnTx/>
                <a:uFillTx/>
                <a:latin typeface="Arial"/>
                <a:ea typeface="+mn-ea"/>
                <a:cs typeface="+mn-cs"/>
                <a:sym typeface="+mn-lt"/>
              </a:rPr>
              <a:t>100%</a:t>
            </a:r>
          </a:p>
        </p:txBody>
      </p:sp>
      <p:pic>
        <p:nvPicPr>
          <p:cNvPr id="26" name="Picture 25">
            <a:extLst>
              <a:ext uri="{FF2B5EF4-FFF2-40B4-BE49-F238E27FC236}">
                <a16:creationId xmlns:a16="http://schemas.microsoft.com/office/drawing/2014/main" id="{47F8EE25-F869-40B4-A689-8021AC4B40B6}"/>
              </a:ext>
            </a:extLst>
          </p:cNvPr>
          <p:cNvPicPr>
            <a:picLocks noChangeAspect="1"/>
          </p:cNvPicPr>
          <p:nvPr/>
        </p:nvPicPr>
        <p:blipFill>
          <a:blip r:embed="rId7"/>
          <a:stretch>
            <a:fillRect/>
          </a:stretch>
        </p:blipFill>
        <p:spPr>
          <a:xfrm>
            <a:off x="1252538" y="922232"/>
            <a:ext cx="6454972" cy="3561650"/>
          </a:xfrm>
          <a:prstGeom prst="rect">
            <a:avLst/>
          </a:prstGeom>
        </p:spPr>
      </p:pic>
    </p:spTree>
    <p:extLst>
      <p:ext uri="{BB962C8B-B14F-4D97-AF65-F5344CB8AC3E}">
        <p14:creationId xmlns:p14="http://schemas.microsoft.com/office/powerpoint/2010/main" val="15899273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A37C95-3A7F-4C90-9D28-0B573484ACDD}" type="slidenum">
              <a:rPr kumimoji="0" lang="en-US" sz="600" b="0" i="0" u="none" strike="noStrike" kern="1200" cap="none" spc="0" normalizeH="0" baseline="0" noProof="0" smtClean="0">
                <a:ln>
                  <a:noFill/>
                </a:ln>
                <a:gradFill>
                  <a:gsLst>
                    <a:gs pos="7258">
                      <a:srgbClr val="0072C8"/>
                    </a:gs>
                    <a:gs pos="19000">
                      <a:srgbClr val="0072C8"/>
                    </a:gs>
                  </a:gsLst>
                  <a:lin ang="5400000" scaled="1"/>
                </a:gra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600" b="0" i="0" u="none" strike="noStrike" kern="1200" cap="none" spc="0" normalizeH="0" baseline="0" noProof="0">
              <a:ln>
                <a:noFill/>
              </a:ln>
              <a:gradFill>
                <a:gsLst>
                  <a:gs pos="7258">
                    <a:srgbClr val="0072C8"/>
                  </a:gs>
                  <a:gs pos="19000">
                    <a:srgbClr val="0072C8"/>
                  </a:gs>
                </a:gsLst>
                <a:lin ang="5400000" scaled="1"/>
              </a:gradFill>
              <a:effectLst/>
              <a:uLnTx/>
              <a:uFillTx/>
              <a:latin typeface="Arial" panose="020B0604020202020204" pitchFamily="34" charset="0"/>
              <a:cs typeface="Arial" panose="020B0604020202020204" pitchFamily="34" charset="0"/>
            </a:endParaRPr>
          </a:p>
        </p:txBody>
      </p:sp>
      <p:sp>
        <p:nvSpPr>
          <p:cNvPr id="3" name="Text Placeholder 2"/>
          <p:cNvSpPr>
            <a:spLocks noGrp="1"/>
          </p:cNvSpPr>
          <p:nvPr>
            <p:ph type="body" sz="quarter" idx="14"/>
          </p:nvPr>
        </p:nvSpPr>
        <p:spPr/>
        <p:txBody>
          <a:bodyPr/>
          <a:lstStyle/>
          <a:p>
            <a:r>
              <a:rPr lang="en-US" dirty="0"/>
              <a:t>All together in one interface</a:t>
            </a:r>
          </a:p>
        </p:txBody>
      </p:sp>
      <p:graphicFrame>
        <p:nvGraphicFramePr>
          <p:cNvPr id="253954" name="Rectangle 2" hidden="1"/>
          <p:cNvGraphicFramePr>
            <a:graphicFrameLocks/>
          </p:cNvGraphicFramePr>
          <p:nvPr>
            <p:custDataLst>
              <p:tags r:id="rId2"/>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spid="_x0000_s2072" name="think-cell Slide" r:id="rId6" imgW="0" imgH="0" progId="">
                  <p:embed/>
                </p:oleObj>
              </mc:Choice>
              <mc:Fallback>
                <p:oleObj name="think-cell Slide" r:id="rId6" imgW="0" imgH="0" progId="">
                  <p:embed/>
                  <p:pic>
                    <p:nvPicPr>
                      <p:cNvPr id="253954"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24" name="Rectangle 23" hidden="1"/>
          <p:cNvSpPr/>
          <p:nvPr>
            <p:custDataLst>
              <p:tags r:id="rId3"/>
            </p:custDataLst>
          </p:nvPr>
        </p:nvSpPr>
        <p:spPr bwMode="auto">
          <a:xfrm>
            <a:off x="1143000" y="0"/>
            <a:ext cx="109538" cy="119063"/>
          </a:xfrm>
          <a:prstGeom prst="rect">
            <a:avLst/>
          </a:prstGeom>
          <a:effec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a:ln>
                  <a:noFill/>
                </a:ln>
                <a:solidFill>
                  <a:srgbClr val="FFFFFF"/>
                </a:solidFill>
                <a:effectLst/>
                <a:uLnTx/>
                <a:uFillTx/>
                <a:latin typeface="Arial"/>
                <a:ea typeface="+mn-ea"/>
                <a:cs typeface="+mn-cs"/>
                <a:sym typeface="+mn-lt"/>
              </a:rPr>
              <a:t>100%</a:t>
            </a:r>
          </a:p>
        </p:txBody>
      </p:sp>
      <p:pic>
        <p:nvPicPr>
          <p:cNvPr id="4" name="Picture 3">
            <a:extLst>
              <a:ext uri="{FF2B5EF4-FFF2-40B4-BE49-F238E27FC236}">
                <a16:creationId xmlns:a16="http://schemas.microsoft.com/office/drawing/2014/main" id="{9D901F37-901D-4DED-A919-D9523AD44A33}"/>
              </a:ext>
            </a:extLst>
          </p:cNvPr>
          <p:cNvPicPr>
            <a:picLocks noChangeAspect="1"/>
          </p:cNvPicPr>
          <p:nvPr/>
        </p:nvPicPr>
        <p:blipFill>
          <a:blip r:embed="rId7"/>
          <a:stretch>
            <a:fillRect/>
          </a:stretch>
        </p:blipFill>
        <p:spPr>
          <a:xfrm>
            <a:off x="4742950" y="811489"/>
            <a:ext cx="3620293" cy="3885192"/>
          </a:xfrm>
          <a:prstGeom prst="rect">
            <a:avLst/>
          </a:prstGeom>
        </p:spPr>
      </p:pic>
      <p:sp>
        <p:nvSpPr>
          <p:cNvPr id="9" name="Text Placeholder 13">
            <a:extLst>
              <a:ext uri="{FF2B5EF4-FFF2-40B4-BE49-F238E27FC236}">
                <a16:creationId xmlns:a16="http://schemas.microsoft.com/office/drawing/2014/main" id="{E7595A52-F5F7-4263-81C8-2C32FAC9E76E}"/>
              </a:ext>
            </a:extLst>
          </p:cNvPr>
          <p:cNvSpPr txBox="1">
            <a:spLocks/>
          </p:cNvSpPr>
          <p:nvPr/>
        </p:nvSpPr>
        <p:spPr>
          <a:xfrm>
            <a:off x="312789" y="1259023"/>
            <a:ext cx="4087762" cy="1781357"/>
          </a:xfrm>
          <a:prstGeom prst="rect">
            <a:avLst/>
          </a:prstGeom>
        </p:spPr>
        <p:txBody>
          <a:bodyPr/>
          <a:lstStyle>
            <a:lvl1pPr marL="173038" indent="-173038" algn="l" defTabSz="914400" rtl="0" eaLnBrk="1" latinLnBrk="0" hangingPunct="1">
              <a:lnSpc>
                <a:spcPct val="90000"/>
              </a:lnSpc>
              <a:spcBef>
                <a:spcPts val="1200"/>
              </a:spcBef>
              <a:buClr>
                <a:srgbClr val="0072C8"/>
              </a:buClr>
              <a:buSzPct val="110000"/>
              <a:buFont typeface="Arial" panose="020B0604020202020204" pitchFamily="34" charset="0"/>
              <a:buChar char="•"/>
              <a:defRPr lang="en-US" sz="1200" kern="1200" spc="50" baseline="0" dirty="0" smtClean="0">
                <a:solidFill>
                  <a:schemeClr val="tx1"/>
                </a:solidFill>
                <a:latin typeface="Arial" panose="020B0604020202020204" pitchFamily="34" charset="0"/>
                <a:ea typeface="+mn-ea"/>
                <a:cs typeface="Arial" panose="020B0604020202020204" pitchFamily="34" charset="0"/>
              </a:defRPr>
            </a:lvl1pPr>
            <a:lvl2pPr marL="323850" indent="-150813" algn="l" defTabSz="914400" rtl="0" eaLnBrk="1" latinLnBrk="0" hangingPunct="1">
              <a:lnSpc>
                <a:spcPct val="90000"/>
              </a:lnSpc>
              <a:spcBef>
                <a:spcPts val="600"/>
              </a:spcBef>
              <a:buClr>
                <a:srgbClr val="CDCDCD"/>
              </a:buClr>
              <a:buSzPct val="110000"/>
              <a:buFont typeface="Arial" panose="020B0604020202020204" pitchFamily="34" charset="0"/>
              <a:buChar char="•"/>
              <a:defRPr lang="en-US" sz="1100" kern="1200" spc="50" baseline="0" dirty="0" smtClean="0">
                <a:solidFill>
                  <a:schemeClr val="tx1"/>
                </a:solidFill>
                <a:latin typeface="Arial" panose="020B0604020202020204" pitchFamily="34" charset="0"/>
                <a:ea typeface="+mn-ea"/>
                <a:cs typeface="Arial" panose="020B0604020202020204" pitchFamily="34" charset="0"/>
              </a:defRPr>
            </a:lvl2pPr>
            <a:lvl3pPr marL="457200" indent="-133350" algn="l" defTabSz="914400" rtl="0" eaLnBrk="1" latinLnBrk="0" hangingPunct="1">
              <a:lnSpc>
                <a:spcPct val="90000"/>
              </a:lnSpc>
              <a:spcBef>
                <a:spcPts val="400"/>
              </a:spcBef>
              <a:buClr>
                <a:srgbClr val="CDCDCD"/>
              </a:buClr>
              <a:buSzPct val="110000"/>
              <a:buFont typeface="Arial" panose="020B0604020202020204" pitchFamily="34" charset="0"/>
              <a:buChar char="•"/>
              <a:defRPr lang="en-US" sz="1050" kern="1200" spc="50" baseline="0" dirty="0" smtClean="0">
                <a:solidFill>
                  <a:schemeClr val="tx1"/>
                </a:solidFill>
                <a:latin typeface="Arial" panose="020B0604020202020204" pitchFamily="34" charset="0"/>
                <a:ea typeface="+mn-ea"/>
                <a:cs typeface="Arial" panose="020B0604020202020204" pitchFamily="34" charset="0"/>
              </a:defRPr>
            </a:lvl3pPr>
            <a:lvl4pPr marL="590550" indent="-133350" algn="l" defTabSz="914400" rtl="0" eaLnBrk="1" latinLnBrk="0" hangingPunct="1">
              <a:lnSpc>
                <a:spcPct val="90000"/>
              </a:lnSpc>
              <a:spcBef>
                <a:spcPts val="300"/>
              </a:spcBef>
              <a:buClr>
                <a:srgbClr val="CDCDCD"/>
              </a:buClr>
              <a:buSzPct val="110000"/>
              <a:buFont typeface="Arial" panose="020B0604020202020204" pitchFamily="34" charset="0"/>
              <a:buChar char="•"/>
              <a:defRPr lang="en-US" sz="1000" kern="1200" spc="50" baseline="0" dirty="0" smtClean="0">
                <a:solidFill>
                  <a:schemeClr val="tx1"/>
                </a:solidFill>
                <a:latin typeface="Arial" panose="020B0604020202020204" pitchFamily="34" charset="0"/>
                <a:ea typeface="+mn-ea"/>
                <a:cs typeface="Arial" panose="020B0604020202020204" pitchFamily="34" charset="0"/>
              </a:defRPr>
            </a:lvl4pPr>
            <a:lvl5pPr marL="704850" indent="-111125" algn="l" defTabSz="914400" rtl="0" eaLnBrk="1" latinLnBrk="0" hangingPunct="1">
              <a:lnSpc>
                <a:spcPct val="90000"/>
              </a:lnSpc>
              <a:spcBef>
                <a:spcPts val="300"/>
              </a:spcBef>
              <a:buClr>
                <a:srgbClr val="CDCDCD"/>
              </a:buClr>
              <a:buSzPct val="110000"/>
              <a:buFont typeface="Arial" panose="020B0604020202020204" pitchFamily="34" charset="0"/>
              <a:buChar char="•"/>
              <a:defRPr lang="en-US" sz="1000" kern="1200" spc="50" baseline="0" dirty="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000" dirty="0">
                <a:solidFill>
                  <a:schemeClr val="tx2"/>
                </a:solidFill>
              </a:rPr>
              <a:t>View both standard and custom facets</a:t>
            </a:r>
          </a:p>
          <a:p>
            <a:r>
              <a:rPr lang="en-US" sz="1000" dirty="0">
                <a:solidFill>
                  <a:schemeClr val="tx2"/>
                </a:solidFill>
              </a:rPr>
              <a:t>View interactions and events</a:t>
            </a:r>
          </a:p>
          <a:p>
            <a:r>
              <a:rPr lang="en-US" sz="1000" dirty="0">
                <a:solidFill>
                  <a:schemeClr val="tx2"/>
                </a:solidFill>
              </a:rPr>
              <a:t>Goals &amp; Channels</a:t>
            </a:r>
          </a:p>
          <a:p>
            <a:r>
              <a:rPr lang="en-US" sz="1000" dirty="0">
                <a:solidFill>
                  <a:schemeClr val="tx2"/>
                </a:solidFill>
              </a:rPr>
              <a:t>Enable automation and rules</a:t>
            </a:r>
          </a:p>
        </p:txBody>
      </p:sp>
    </p:spTree>
    <p:extLst>
      <p:ext uri="{BB962C8B-B14F-4D97-AF65-F5344CB8AC3E}">
        <p14:creationId xmlns:p14="http://schemas.microsoft.com/office/powerpoint/2010/main" val="27587821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EE2C88-6C8F-484D-AF69-578F576B1F44}" type="slidenum">
              <a:rPr kumimoji="0" lang="en-US" sz="600" b="0" i="0" u="none" strike="noStrike" kern="1200" cap="none" spc="0" normalizeH="0" baseline="0" noProof="0" smtClean="0">
                <a:ln>
                  <a:noFill/>
                </a:ln>
                <a:solidFill>
                  <a:srgbClr val="0072C8"/>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600" b="0" i="0" u="none" strike="noStrike" kern="1200" cap="none" spc="0" normalizeH="0" baseline="0" noProof="0" dirty="0">
              <a:ln>
                <a:noFill/>
              </a:ln>
              <a:solidFill>
                <a:srgbClr val="0072C8"/>
              </a:solidFill>
              <a:effectLst/>
              <a:uLnTx/>
              <a:uFillTx/>
              <a:latin typeface="Arial" panose="020B0604020202020204" pitchFamily="34" charset="0"/>
              <a:cs typeface="Arial" panose="020B0604020202020204" pitchFamily="34" charset="0"/>
            </a:endParaRPr>
          </a:p>
        </p:txBody>
      </p:sp>
      <p:sp>
        <p:nvSpPr>
          <p:cNvPr id="3" name="Text Placeholder 2"/>
          <p:cNvSpPr>
            <a:spLocks noGrp="1"/>
          </p:cNvSpPr>
          <p:nvPr>
            <p:ph type="body" sz="quarter" idx="13"/>
          </p:nvPr>
        </p:nvSpPr>
        <p:spPr/>
        <p:txBody>
          <a:bodyPr/>
          <a:lstStyle/>
          <a:p>
            <a:r>
              <a:rPr lang="en-US" sz="4800" spc="-100" dirty="0"/>
              <a:t>Less is really </a:t>
            </a:r>
            <a:r>
              <a:rPr lang="en-US" sz="4800" b="1" spc="-100" dirty="0">
                <a:solidFill>
                  <a:schemeClr val="accent2"/>
                </a:solidFill>
              </a:rPr>
              <a:t>more!</a:t>
            </a:r>
            <a:endParaRPr lang="en-GB" sz="4800" b="1" spc="-100" dirty="0">
              <a:solidFill>
                <a:schemeClr val="accent2"/>
              </a:solidFill>
            </a:endParaRPr>
          </a:p>
        </p:txBody>
      </p:sp>
      <p:sp>
        <p:nvSpPr>
          <p:cNvPr id="4" name="Text Placeholder 3"/>
          <p:cNvSpPr>
            <a:spLocks noGrp="1"/>
          </p:cNvSpPr>
          <p:nvPr>
            <p:ph type="body" sz="quarter" idx="14"/>
          </p:nvPr>
        </p:nvSpPr>
        <p:spPr>
          <a:xfrm>
            <a:off x="2864922" y="2732046"/>
            <a:ext cx="3414156" cy="585288"/>
          </a:xfrm>
        </p:spPr>
        <p:txBody>
          <a:bodyPr/>
          <a:lstStyle/>
          <a:p>
            <a:r>
              <a:rPr lang="en-US" dirty="0">
                <a:solidFill>
                  <a:schemeClr val="tx2"/>
                </a:solidFill>
              </a:rPr>
              <a:t>A third of the code lets you create efficient, easy</a:t>
            </a:r>
          </a:p>
          <a:p>
            <a:r>
              <a:rPr lang="en-US" dirty="0">
                <a:solidFill>
                  <a:schemeClr val="tx2"/>
                </a:solidFill>
              </a:rPr>
              <a:t>to manage implementations, from virtually </a:t>
            </a:r>
          </a:p>
          <a:p>
            <a:r>
              <a:rPr lang="en-US" dirty="0">
                <a:solidFill>
                  <a:schemeClr val="tx2"/>
                </a:solidFill>
              </a:rPr>
              <a:t>any other application. </a:t>
            </a:r>
            <a:endParaRPr lang="en-GB" dirty="0">
              <a:solidFill>
                <a:schemeClr val="tx2"/>
              </a:solidFill>
            </a:endParaRPr>
          </a:p>
        </p:txBody>
      </p:sp>
      <p:pic>
        <p:nvPicPr>
          <p:cNvPr id="5" name="Picture 2" descr="https://doc.sitecore.net/developers/xp/xconnect/_images/Core-Collection-Model1.png">
            <a:extLst>
              <a:ext uri="{FF2B5EF4-FFF2-40B4-BE49-F238E27FC236}">
                <a16:creationId xmlns:a16="http://schemas.microsoft.com/office/drawing/2014/main" id="{939BCED5-FFAB-4462-854F-19F1671315E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62113" y="5290020"/>
            <a:ext cx="7306147" cy="41061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99674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FCEE2C88-6C8F-484D-AF69-578F576B1F44}" type="slidenum">
              <a:rPr lang="en-US" smtClean="0"/>
              <a:pPr/>
              <a:t>8</a:t>
            </a:fld>
            <a:endParaRPr lang="en-US"/>
          </a:p>
        </p:txBody>
      </p:sp>
      <p:sp>
        <p:nvSpPr>
          <p:cNvPr id="4" name="Text Placeholder 3"/>
          <p:cNvSpPr>
            <a:spLocks noGrp="1"/>
          </p:cNvSpPr>
          <p:nvPr>
            <p:ph type="body" sz="quarter" idx="14"/>
          </p:nvPr>
        </p:nvSpPr>
        <p:spPr/>
        <p:txBody>
          <a:bodyPr/>
          <a:lstStyle/>
          <a:p>
            <a:r>
              <a:rPr lang="en-US" dirty="0"/>
              <a:t>A lot less time coding</a:t>
            </a:r>
          </a:p>
        </p:txBody>
      </p:sp>
      <p:sp>
        <p:nvSpPr>
          <p:cNvPr id="5" name="Text Placeholder 4"/>
          <p:cNvSpPr>
            <a:spLocks noGrp="1"/>
          </p:cNvSpPr>
          <p:nvPr>
            <p:ph type="body" sz="quarter" idx="16"/>
          </p:nvPr>
        </p:nvSpPr>
        <p:spPr/>
        <p:txBody>
          <a:bodyPr/>
          <a:lstStyle/>
          <a:p>
            <a:r>
              <a:rPr lang="en-US" dirty="0"/>
              <a:t>Compared to Sitecore 8 </a:t>
            </a:r>
            <a:r>
              <a:rPr lang="en-US" dirty="0" err="1"/>
              <a:t>xDB</a:t>
            </a:r>
            <a:r>
              <a:rPr lang="en-US" dirty="0"/>
              <a:t>, adding a contact with </a:t>
            </a:r>
            <a:r>
              <a:rPr lang="en-US" dirty="0" err="1"/>
              <a:t>Xconnect</a:t>
            </a:r>
            <a:r>
              <a:rPr lang="en-US" dirty="0"/>
              <a:t> is a walk in the park.</a:t>
            </a:r>
          </a:p>
        </p:txBody>
      </p:sp>
      <p:sp>
        <p:nvSpPr>
          <p:cNvPr id="7" name="TextBox 6">
            <a:extLst>
              <a:ext uri="{FF2B5EF4-FFF2-40B4-BE49-F238E27FC236}">
                <a16:creationId xmlns:a16="http://schemas.microsoft.com/office/drawing/2014/main" id="{395870AF-FDA1-4FB3-BBEA-0AA55F71BFE4}"/>
              </a:ext>
            </a:extLst>
          </p:cNvPr>
          <p:cNvSpPr txBox="1"/>
          <p:nvPr/>
        </p:nvSpPr>
        <p:spPr>
          <a:xfrm>
            <a:off x="746824" y="1202331"/>
            <a:ext cx="3948488" cy="3093154"/>
          </a:xfrm>
          <a:prstGeom prst="rect">
            <a:avLst/>
          </a:prstGeom>
          <a:noFill/>
        </p:spPr>
        <p:txBody>
          <a:bodyPr wrap="square" rtlCol="0">
            <a:spAutoFit/>
          </a:bodyPr>
          <a:lstStyle/>
          <a:p>
            <a:r>
              <a:rPr lang="en-US" sz="500" dirty="0"/>
              <a:t>public void </a:t>
            </a:r>
            <a:r>
              <a:rPr lang="en-US" sz="500" dirty="0" err="1"/>
              <a:t>SetContactData</a:t>
            </a:r>
            <a:r>
              <a:rPr lang="en-US" sz="500" dirty="0"/>
              <a:t>(string username)</a:t>
            </a:r>
          </a:p>
          <a:p>
            <a:r>
              <a:rPr lang="en-US" sz="500" dirty="0"/>
              <a:t>{</a:t>
            </a:r>
          </a:p>
          <a:p>
            <a:r>
              <a:rPr lang="en-US" sz="500" dirty="0"/>
              <a:t>    </a:t>
            </a:r>
            <a:r>
              <a:rPr lang="en-US" sz="500" dirty="0" err="1"/>
              <a:t>LeaseOwner</a:t>
            </a:r>
            <a:r>
              <a:rPr lang="en-US" sz="500" dirty="0"/>
              <a:t> </a:t>
            </a:r>
            <a:r>
              <a:rPr lang="en-US" sz="500" dirty="0" err="1"/>
              <a:t>leaseOwner</a:t>
            </a:r>
            <a:r>
              <a:rPr lang="en-US" sz="500" dirty="0"/>
              <a:t> = new </a:t>
            </a:r>
            <a:r>
              <a:rPr lang="en-US" sz="500" dirty="0" err="1"/>
              <a:t>LeaseOwner</a:t>
            </a:r>
            <a:r>
              <a:rPr lang="en-US" sz="500" dirty="0"/>
              <a:t>("YOUR_WORKER_NAME", </a:t>
            </a:r>
            <a:r>
              <a:rPr lang="en-US" sz="500" dirty="0" err="1"/>
              <a:t>LeaseOwnerType.OutOfRequestWorker</a:t>
            </a:r>
            <a:r>
              <a:rPr lang="en-US" sz="500" dirty="0"/>
              <a:t>);</a:t>
            </a:r>
          </a:p>
          <a:p>
            <a:endParaRPr lang="en-US" sz="500" dirty="0"/>
          </a:p>
          <a:p>
            <a:r>
              <a:rPr lang="en-US" sz="500" dirty="0"/>
              <a:t>    </a:t>
            </a:r>
            <a:r>
              <a:rPr lang="en-US" sz="500" dirty="0" err="1"/>
              <a:t>ContactRepositoryBase</a:t>
            </a:r>
            <a:r>
              <a:rPr lang="en-US" sz="500" dirty="0"/>
              <a:t> </a:t>
            </a:r>
            <a:r>
              <a:rPr lang="en-US" sz="500" dirty="0" err="1"/>
              <a:t>contactRepository</a:t>
            </a:r>
            <a:r>
              <a:rPr lang="en-US" sz="500" dirty="0"/>
              <a:t> = </a:t>
            </a:r>
            <a:r>
              <a:rPr lang="en-US" sz="500" dirty="0" err="1"/>
              <a:t>Factory.CreateObject</a:t>
            </a:r>
            <a:r>
              <a:rPr lang="en-US" sz="500" dirty="0"/>
              <a:t>("</a:t>
            </a:r>
            <a:r>
              <a:rPr lang="en-US" sz="500" dirty="0" err="1"/>
              <a:t>contactRepository</a:t>
            </a:r>
            <a:r>
              <a:rPr lang="en-US" sz="500" dirty="0"/>
              <a:t>", true) as </a:t>
            </a:r>
            <a:r>
              <a:rPr lang="en-US" sz="500" dirty="0" err="1"/>
              <a:t>ContactRepositoryBase</a:t>
            </a:r>
            <a:r>
              <a:rPr lang="en-US" sz="500" dirty="0"/>
              <a:t>;</a:t>
            </a:r>
          </a:p>
          <a:p>
            <a:endParaRPr lang="en-US" sz="500" dirty="0"/>
          </a:p>
          <a:p>
            <a:r>
              <a:rPr lang="en-US" sz="500" dirty="0"/>
              <a:t>    // Attempt to obtain an exclusive lock on an existing contact in </a:t>
            </a:r>
            <a:r>
              <a:rPr lang="en-US" sz="500" dirty="0" err="1"/>
              <a:t>xDB</a:t>
            </a:r>
            <a:r>
              <a:rPr lang="en-US" sz="500" dirty="0"/>
              <a:t>.</a:t>
            </a:r>
          </a:p>
          <a:p>
            <a:r>
              <a:rPr lang="en-US" sz="500" dirty="0"/>
              <a:t>    </a:t>
            </a:r>
            <a:r>
              <a:rPr lang="en-US" sz="500" dirty="0" err="1"/>
              <a:t>LockAttemptResult</a:t>
            </a:r>
            <a:r>
              <a:rPr lang="en-US" sz="500" dirty="0"/>
              <a:t>&lt;Contact&gt; </a:t>
            </a:r>
            <a:r>
              <a:rPr lang="en-US" sz="500" dirty="0" err="1"/>
              <a:t>lockResult</a:t>
            </a:r>
            <a:r>
              <a:rPr lang="en-US" sz="500" dirty="0"/>
              <a:t> = </a:t>
            </a:r>
            <a:r>
              <a:rPr lang="en-US" sz="500" dirty="0" err="1"/>
              <a:t>contactRepository.TryLoadContact</a:t>
            </a:r>
            <a:r>
              <a:rPr lang="en-US" sz="500" dirty="0"/>
              <a:t>(username, </a:t>
            </a:r>
            <a:r>
              <a:rPr lang="en-US" sz="500" dirty="0" err="1"/>
              <a:t>leaseOwner</a:t>
            </a:r>
            <a:r>
              <a:rPr lang="en-US" sz="500" dirty="0"/>
              <a:t>, </a:t>
            </a:r>
            <a:r>
              <a:rPr lang="en-US" sz="500" dirty="0" err="1"/>
              <a:t>TimeSpan.FromMinutes</a:t>
            </a:r>
            <a:r>
              <a:rPr lang="en-US" sz="500" dirty="0"/>
              <a:t>(1));</a:t>
            </a:r>
          </a:p>
          <a:p>
            <a:endParaRPr lang="en-US" sz="500" dirty="0"/>
          </a:p>
          <a:p>
            <a:r>
              <a:rPr lang="en-US" sz="500" dirty="0"/>
              <a:t>    Contact </a:t>
            </a:r>
            <a:r>
              <a:rPr lang="en-US" sz="500" dirty="0" err="1"/>
              <a:t>contact</a:t>
            </a:r>
            <a:r>
              <a:rPr lang="en-US" sz="500" dirty="0"/>
              <a:t> = null;</a:t>
            </a:r>
          </a:p>
          <a:p>
            <a:endParaRPr lang="en-US" sz="500" dirty="0"/>
          </a:p>
          <a:p>
            <a:r>
              <a:rPr lang="en-US" sz="500" dirty="0"/>
              <a:t>    if (</a:t>
            </a:r>
            <a:r>
              <a:rPr lang="en-US" sz="500" dirty="0" err="1"/>
              <a:t>lockResult.Status</a:t>
            </a:r>
            <a:r>
              <a:rPr lang="en-US" sz="500" dirty="0"/>
              <a:t> == </a:t>
            </a:r>
            <a:r>
              <a:rPr lang="en-US" sz="500" dirty="0" err="1"/>
              <a:t>LockAttemptStatus.AlreadyLocked</a:t>
            </a:r>
            <a:r>
              <a:rPr lang="en-US" sz="500" dirty="0"/>
              <a:t>)</a:t>
            </a:r>
          </a:p>
          <a:p>
            <a:r>
              <a:rPr lang="en-US" sz="500" dirty="0"/>
              <a:t>    {</a:t>
            </a:r>
          </a:p>
          <a:p>
            <a:r>
              <a:rPr lang="en-US" sz="500" dirty="0"/>
              <a:t>        // Another worker or a live web session has an exclusive lock on the contact.</a:t>
            </a:r>
          </a:p>
          <a:p>
            <a:r>
              <a:rPr lang="en-US" sz="500" dirty="0"/>
              <a:t>        // You can't use this contact right now. It's up to you what to do in this case.</a:t>
            </a:r>
          </a:p>
          <a:p>
            <a:r>
              <a:rPr lang="en-US" sz="500" dirty="0"/>
              <a:t>        /* ... */</a:t>
            </a:r>
          </a:p>
          <a:p>
            <a:r>
              <a:rPr lang="en-US" sz="500" dirty="0"/>
              <a:t>    }</a:t>
            </a:r>
          </a:p>
          <a:p>
            <a:r>
              <a:rPr lang="en-US" sz="500" dirty="0"/>
              <a:t>    else if (</a:t>
            </a:r>
            <a:r>
              <a:rPr lang="en-US" sz="500" dirty="0" err="1"/>
              <a:t>lockResult.Status</a:t>
            </a:r>
            <a:r>
              <a:rPr lang="en-US" sz="500" dirty="0"/>
              <a:t> == </a:t>
            </a:r>
            <a:r>
              <a:rPr lang="en-US" sz="500" dirty="0" err="1"/>
              <a:t>LockAttemptStatus.DatabaseUnavailable</a:t>
            </a:r>
            <a:r>
              <a:rPr lang="en-US" sz="500" dirty="0"/>
              <a:t>)</a:t>
            </a:r>
          </a:p>
          <a:p>
            <a:r>
              <a:rPr lang="en-US" sz="500" dirty="0"/>
              <a:t>    {</a:t>
            </a:r>
          </a:p>
          <a:p>
            <a:r>
              <a:rPr lang="en-US" sz="500" dirty="0"/>
              <a:t>        // Database is down. Try to handle this gracefully.</a:t>
            </a:r>
          </a:p>
          <a:p>
            <a:r>
              <a:rPr lang="en-US" sz="500" dirty="0"/>
              <a:t>        /* ... */</a:t>
            </a:r>
          </a:p>
          <a:p>
            <a:r>
              <a:rPr lang="en-US" sz="500" dirty="0"/>
              <a:t>    }</a:t>
            </a:r>
          </a:p>
          <a:p>
            <a:r>
              <a:rPr lang="en-US" sz="500" dirty="0"/>
              <a:t>    else if (</a:t>
            </a:r>
            <a:r>
              <a:rPr lang="en-US" sz="500" dirty="0" err="1"/>
              <a:t>lockResult.Status</a:t>
            </a:r>
            <a:r>
              <a:rPr lang="en-US" sz="500" dirty="0"/>
              <a:t> == </a:t>
            </a:r>
            <a:r>
              <a:rPr lang="en-US" sz="500" dirty="0" err="1"/>
              <a:t>LockAttemptStatus.NotFound</a:t>
            </a:r>
            <a:r>
              <a:rPr lang="en-US" sz="500" dirty="0"/>
              <a:t>)</a:t>
            </a:r>
          </a:p>
          <a:p>
            <a:r>
              <a:rPr lang="en-US" sz="500" dirty="0"/>
              <a:t>    {</a:t>
            </a:r>
          </a:p>
          <a:p>
            <a:r>
              <a:rPr lang="en-US" sz="500" dirty="0"/>
              <a:t>        // A contact with the given identifier doesn't exist.</a:t>
            </a:r>
          </a:p>
          <a:p>
            <a:r>
              <a:rPr lang="en-US" sz="500" dirty="0"/>
              <a:t>        // Just create a new contact object.</a:t>
            </a:r>
          </a:p>
          <a:p>
            <a:r>
              <a:rPr lang="en-US" sz="500" dirty="0"/>
              <a:t>        contact = </a:t>
            </a:r>
            <a:r>
              <a:rPr lang="en-US" sz="500" dirty="0" err="1"/>
              <a:t>contactRepository.CreateContact</a:t>
            </a:r>
            <a:r>
              <a:rPr lang="en-US" sz="500" dirty="0"/>
              <a:t>(</a:t>
            </a:r>
            <a:r>
              <a:rPr lang="en-US" sz="500" dirty="0" err="1"/>
              <a:t>Guid.NewGuid</a:t>
            </a:r>
            <a:r>
              <a:rPr lang="en-US" sz="500" dirty="0"/>
              <a:t>());</a:t>
            </a:r>
          </a:p>
          <a:p>
            <a:endParaRPr lang="en-US" sz="500" dirty="0"/>
          </a:p>
          <a:p>
            <a:r>
              <a:rPr lang="en-US" sz="500" dirty="0"/>
              <a:t>        // Identify it.</a:t>
            </a:r>
          </a:p>
          <a:p>
            <a:r>
              <a:rPr lang="en-US" sz="500" dirty="0"/>
              <a:t>        </a:t>
            </a:r>
            <a:r>
              <a:rPr lang="en-US" sz="500" dirty="0" err="1"/>
              <a:t>contact.Identifiers.Identifier</a:t>
            </a:r>
            <a:r>
              <a:rPr lang="en-US" sz="500" dirty="0"/>
              <a:t> = username;</a:t>
            </a:r>
          </a:p>
          <a:p>
            <a:endParaRPr lang="en-US" sz="500" dirty="0"/>
          </a:p>
          <a:p>
            <a:r>
              <a:rPr lang="en-US" sz="500" dirty="0"/>
              <a:t>        // And make it known.</a:t>
            </a:r>
          </a:p>
          <a:p>
            <a:r>
              <a:rPr lang="en-US" sz="500" dirty="0"/>
              <a:t>        </a:t>
            </a:r>
            <a:r>
              <a:rPr lang="en-US" sz="500" dirty="0" err="1"/>
              <a:t>contact.Identifiers.IdentificationLevel</a:t>
            </a:r>
            <a:r>
              <a:rPr lang="en-US" sz="500" dirty="0"/>
              <a:t> = </a:t>
            </a:r>
            <a:r>
              <a:rPr lang="en-US" sz="500" dirty="0" err="1"/>
              <a:t>Sitecore.Analytics.Model.ContactIdentificationLevel.Known</a:t>
            </a:r>
            <a:r>
              <a:rPr lang="en-US" sz="500" dirty="0"/>
              <a:t>;</a:t>
            </a:r>
          </a:p>
          <a:p>
            <a:r>
              <a:rPr lang="en-US" sz="500" dirty="0"/>
              <a:t>    }</a:t>
            </a:r>
          </a:p>
          <a:p>
            <a:r>
              <a:rPr lang="en-US" sz="500" dirty="0"/>
              <a:t>    else</a:t>
            </a:r>
          </a:p>
          <a:p>
            <a:r>
              <a:rPr lang="en-US" sz="500" dirty="0"/>
              <a:t>    {</a:t>
            </a:r>
          </a:p>
          <a:p>
            <a:r>
              <a:rPr lang="en-US" sz="500" dirty="0"/>
              <a:t>        // We </a:t>
            </a:r>
            <a:r>
              <a:rPr lang="en-US" sz="500" dirty="0" err="1"/>
              <a:t>successfull</a:t>
            </a:r>
            <a:r>
              <a:rPr lang="en-US" sz="500" dirty="0"/>
              <a:t> locked an existing contact.</a:t>
            </a:r>
          </a:p>
          <a:p>
            <a:r>
              <a:rPr lang="en-US" sz="500" dirty="0"/>
              <a:t>        contact = </a:t>
            </a:r>
            <a:r>
              <a:rPr lang="en-US" sz="500" dirty="0" err="1"/>
              <a:t>lockResult.Object</a:t>
            </a:r>
            <a:r>
              <a:rPr lang="en-US" sz="500" dirty="0"/>
              <a:t>;</a:t>
            </a:r>
          </a:p>
          <a:p>
            <a:r>
              <a:rPr lang="en-US" sz="500" dirty="0"/>
              <a:t>    }…</a:t>
            </a:r>
          </a:p>
        </p:txBody>
      </p:sp>
      <p:sp>
        <p:nvSpPr>
          <p:cNvPr id="8" name="TextBox 7">
            <a:extLst>
              <a:ext uri="{FF2B5EF4-FFF2-40B4-BE49-F238E27FC236}">
                <a16:creationId xmlns:a16="http://schemas.microsoft.com/office/drawing/2014/main" id="{71EFF1A8-C167-43B4-9C8D-BDA24FE376D3}"/>
              </a:ext>
            </a:extLst>
          </p:cNvPr>
          <p:cNvSpPr txBox="1"/>
          <p:nvPr/>
        </p:nvSpPr>
        <p:spPr>
          <a:xfrm>
            <a:off x="5145086" y="1202331"/>
            <a:ext cx="3998914" cy="1246495"/>
          </a:xfrm>
          <a:prstGeom prst="rect">
            <a:avLst/>
          </a:prstGeom>
          <a:noFill/>
        </p:spPr>
        <p:txBody>
          <a:bodyPr wrap="square" rtlCol="0">
            <a:spAutoFit/>
          </a:bodyPr>
          <a:lstStyle/>
          <a:p>
            <a:r>
              <a:rPr lang="en-US" sz="500" dirty="0"/>
              <a:t>public void </a:t>
            </a:r>
            <a:r>
              <a:rPr lang="en-US" sz="500" dirty="0" err="1"/>
              <a:t>UpdateContact</a:t>
            </a:r>
            <a:r>
              <a:rPr lang="en-US" sz="500" dirty="0"/>
              <a:t>(string source, string identifier, Data data)</a:t>
            </a:r>
          </a:p>
          <a:p>
            <a:r>
              <a:rPr lang="en-US" sz="500" dirty="0"/>
              <a:t>{</a:t>
            </a:r>
          </a:p>
          <a:p>
            <a:r>
              <a:rPr lang="en-US" sz="500" dirty="0"/>
              <a:t>  using (</a:t>
            </a:r>
            <a:r>
              <a:rPr lang="en-US" sz="500" dirty="0" err="1"/>
              <a:t>XConnectClient</a:t>
            </a:r>
            <a:r>
              <a:rPr lang="en-US" sz="500" dirty="0"/>
              <a:t> client = </a:t>
            </a:r>
            <a:r>
              <a:rPr lang="en-US" sz="500" dirty="0" err="1"/>
              <a:t>GetClient</a:t>
            </a:r>
            <a:r>
              <a:rPr lang="en-US" sz="500" dirty="0"/>
              <a:t>())</a:t>
            </a:r>
          </a:p>
          <a:p>
            <a:r>
              <a:rPr lang="en-US" sz="500" dirty="0"/>
              <a:t>  {</a:t>
            </a:r>
          </a:p>
          <a:p>
            <a:r>
              <a:rPr lang="en-US" sz="500" dirty="0"/>
              <a:t>    </a:t>
            </a:r>
            <a:r>
              <a:rPr lang="en-US" sz="500" dirty="0" err="1"/>
              <a:t>IdentifiedContactReference</a:t>
            </a:r>
            <a:r>
              <a:rPr lang="en-US" sz="500" dirty="0"/>
              <a:t> reference = new </a:t>
            </a:r>
            <a:r>
              <a:rPr lang="en-US" sz="500" dirty="0" err="1"/>
              <a:t>IdentifiedContactReference</a:t>
            </a:r>
            <a:r>
              <a:rPr lang="en-US" sz="500" dirty="0"/>
              <a:t>(source, identifier);</a:t>
            </a:r>
          </a:p>
          <a:p>
            <a:r>
              <a:rPr lang="en-US" sz="500" dirty="0"/>
              <a:t>    Contact </a:t>
            </a:r>
            <a:r>
              <a:rPr lang="en-US" sz="500" dirty="0" err="1"/>
              <a:t>contact</a:t>
            </a:r>
            <a:r>
              <a:rPr lang="en-US" sz="500" dirty="0"/>
              <a:t> = </a:t>
            </a:r>
            <a:r>
              <a:rPr lang="en-US" sz="500" dirty="0" err="1"/>
              <a:t>client.Get</a:t>
            </a:r>
            <a:r>
              <a:rPr lang="en-US" sz="500" dirty="0"/>
              <a:t>&lt;Contact&gt;(reference, new </a:t>
            </a:r>
            <a:r>
              <a:rPr lang="en-US" sz="500" dirty="0" err="1"/>
              <a:t>ContactExpandOptions</a:t>
            </a:r>
            <a:r>
              <a:rPr lang="en-US" sz="500" dirty="0"/>
              <a:t>(</a:t>
            </a:r>
            <a:r>
              <a:rPr lang="en-US" sz="500" dirty="0" err="1"/>
              <a:t>PersonalInformation.DefaultFacetKey</a:t>
            </a:r>
            <a:r>
              <a:rPr lang="en-US" sz="500" dirty="0"/>
              <a:t>));</a:t>
            </a:r>
          </a:p>
          <a:p>
            <a:r>
              <a:rPr lang="en-US" sz="500" dirty="0"/>
              <a:t>    if (contact == null)</a:t>
            </a:r>
          </a:p>
          <a:p>
            <a:r>
              <a:rPr lang="en-US" sz="500" dirty="0"/>
              <a:t>    {</a:t>
            </a:r>
          </a:p>
          <a:p>
            <a:r>
              <a:rPr lang="en-US" sz="500" dirty="0"/>
              <a:t>      return;</a:t>
            </a:r>
          </a:p>
          <a:p>
            <a:r>
              <a:rPr lang="en-US" sz="500" dirty="0"/>
              <a:t>    }</a:t>
            </a:r>
          </a:p>
          <a:p>
            <a:r>
              <a:rPr lang="en-US" sz="500" dirty="0"/>
              <a:t>    // </a:t>
            </a:r>
            <a:r>
              <a:rPr lang="en-US" sz="500" b="1" dirty="0"/>
              <a:t>Set Facets</a:t>
            </a:r>
            <a:endParaRPr lang="en-US" sz="500" dirty="0"/>
          </a:p>
          <a:p>
            <a:r>
              <a:rPr lang="en-US" sz="500" dirty="0"/>
              <a:t>    </a:t>
            </a:r>
            <a:r>
              <a:rPr lang="en-US" sz="500" dirty="0" err="1"/>
              <a:t>client.SetFacet</a:t>
            </a:r>
            <a:r>
              <a:rPr lang="en-US" sz="500" dirty="0"/>
              <a:t>&lt;</a:t>
            </a:r>
            <a:r>
              <a:rPr lang="en-US" sz="500" dirty="0" err="1"/>
              <a:t>PersonalInformation</a:t>
            </a:r>
            <a:r>
              <a:rPr lang="en-US" sz="500" dirty="0"/>
              <a:t>&gt;(contact, </a:t>
            </a:r>
            <a:r>
              <a:rPr lang="en-US" sz="500" dirty="0" err="1"/>
              <a:t>PersonalInformation.DefaultFacetKey</a:t>
            </a:r>
            <a:r>
              <a:rPr lang="en-US" sz="500" dirty="0"/>
              <a:t>, </a:t>
            </a:r>
            <a:r>
              <a:rPr lang="en-US" sz="500" dirty="0" err="1"/>
              <a:t>personalInformation</a:t>
            </a:r>
            <a:r>
              <a:rPr lang="en-US" sz="500" dirty="0"/>
              <a:t>);</a:t>
            </a:r>
          </a:p>
          <a:p>
            <a:r>
              <a:rPr lang="en-US" sz="500" dirty="0"/>
              <a:t>    </a:t>
            </a:r>
            <a:r>
              <a:rPr lang="en-US" sz="500" dirty="0" err="1"/>
              <a:t>client.Submit</a:t>
            </a:r>
            <a:r>
              <a:rPr lang="en-US" sz="500" dirty="0"/>
              <a:t>();</a:t>
            </a:r>
          </a:p>
          <a:p>
            <a:r>
              <a:rPr lang="en-US" sz="500" dirty="0"/>
              <a:t>  }</a:t>
            </a:r>
          </a:p>
          <a:p>
            <a:r>
              <a:rPr lang="en-US" sz="500" dirty="0"/>
              <a:t>}</a:t>
            </a:r>
            <a:endParaRPr lang="en-US" sz="1050" dirty="0"/>
          </a:p>
        </p:txBody>
      </p:sp>
      <p:sp>
        <p:nvSpPr>
          <p:cNvPr id="9" name="Text Placeholder 33">
            <a:extLst>
              <a:ext uri="{FF2B5EF4-FFF2-40B4-BE49-F238E27FC236}">
                <a16:creationId xmlns:a16="http://schemas.microsoft.com/office/drawing/2014/main" id="{9964BB4C-0BDA-4253-8AD8-21D864B629B1}"/>
              </a:ext>
            </a:extLst>
          </p:cNvPr>
          <p:cNvSpPr txBox="1">
            <a:spLocks/>
          </p:cNvSpPr>
          <p:nvPr/>
        </p:nvSpPr>
        <p:spPr>
          <a:xfrm rot="16200000">
            <a:off x="-880019" y="2615677"/>
            <a:ext cx="3062081" cy="249455"/>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en-AU" sz="900" b="1" dirty="0">
                <a:gradFill>
                  <a:gsLst>
                    <a:gs pos="1344">
                      <a:schemeClr val="tx1"/>
                    </a:gs>
                    <a:gs pos="4570">
                      <a:schemeClr val="tx1"/>
                    </a:gs>
                  </a:gsLst>
                  <a:lin ang="5400000" scaled="1"/>
                </a:gradFill>
                <a:latin typeface="Arial" panose="020B0604020202020204" pitchFamily="34" charset="0"/>
                <a:cs typeface="Arial" panose="020B0604020202020204" pitchFamily="34" charset="0"/>
              </a:rPr>
              <a:t>Editing a </a:t>
            </a:r>
            <a:r>
              <a:rPr lang="en-AU" sz="900" b="1" dirty="0" err="1">
                <a:gradFill>
                  <a:gsLst>
                    <a:gs pos="1344">
                      <a:schemeClr val="tx1"/>
                    </a:gs>
                    <a:gs pos="4570">
                      <a:schemeClr val="tx1"/>
                    </a:gs>
                  </a:gsLst>
                  <a:lin ang="5400000" scaled="1"/>
                </a:gradFill>
                <a:latin typeface="Arial" panose="020B0604020202020204" pitchFamily="34" charset="0"/>
                <a:cs typeface="Arial" panose="020B0604020202020204" pitchFamily="34" charset="0"/>
              </a:rPr>
              <a:t>xDB</a:t>
            </a:r>
            <a:r>
              <a:rPr lang="en-AU" sz="900" b="1" dirty="0">
                <a:gradFill>
                  <a:gsLst>
                    <a:gs pos="1344">
                      <a:schemeClr val="tx1"/>
                    </a:gs>
                    <a:gs pos="4570">
                      <a:schemeClr val="tx1"/>
                    </a:gs>
                  </a:gsLst>
                  <a:lin ang="5400000" scaled="1"/>
                </a:gradFill>
                <a:latin typeface="Arial" panose="020B0604020202020204" pitchFamily="34" charset="0"/>
                <a:cs typeface="Arial" panose="020B0604020202020204" pitchFamily="34" charset="0"/>
              </a:rPr>
              <a:t> Contact in Sitecore 8</a:t>
            </a:r>
          </a:p>
        </p:txBody>
      </p:sp>
      <p:sp>
        <p:nvSpPr>
          <p:cNvPr id="10" name="Text Placeholder 33">
            <a:extLst>
              <a:ext uri="{FF2B5EF4-FFF2-40B4-BE49-F238E27FC236}">
                <a16:creationId xmlns:a16="http://schemas.microsoft.com/office/drawing/2014/main" id="{CA643940-B08F-439D-A76F-96850BD59533}"/>
              </a:ext>
            </a:extLst>
          </p:cNvPr>
          <p:cNvSpPr txBox="1">
            <a:spLocks/>
          </p:cNvSpPr>
          <p:nvPr/>
        </p:nvSpPr>
        <p:spPr>
          <a:xfrm rot="16200000">
            <a:off x="3498731" y="2608644"/>
            <a:ext cx="3062081" cy="249455"/>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en-AU" sz="900" b="1" dirty="0">
                <a:gradFill>
                  <a:gsLst>
                    <a:gs pos="1344">
                      <a:schemeClr val="tx1"/>
                    </a:gs>
                    <a:gs pos="4570">
                      <a:schemeClr val="tx1"/>
                    </a:gs>
                  </a:gsLst>
                  <a:lin ang="5400000" scaled="1"/>
                </a:gradFill>
                <a:latin typeface="Arial" panose="020B0604020202020204" pitchFamily="34" charset="0"/>
                <a:cs typeface="Arial" panose="020B0604020202020204" pitchFamily="34" charset="0"/>
              </a:rPr>
              <a:t>Editing a Contact with </a:t>
            </a:r>
            <a:r>
              <a:rPr lang="en-AU" sz="900" b="1" dirty="0" err="1">
                <a:gradFill>
                  <a:gsLst>
                    <a:gs pos="1344">
                      <a:schemeClr val="tx1"/>
                    </a:gs>
                    <a:gs pos="4570">
                      <a:schemeClr val="tx1"/>
                    </a:gs>
                  </a:gsLst>
                  <a:lin ang="5400000" scaled="1"/>
                </a:gradFill>
                <a:latin typeface="Arial" panose="020B0604020202020204" pitchFamily="34" charset="0"/>
                <a:cs typeface="Arial" panose="020B0604020202020204" pitchFamily="34" charset="0"/>
              </a:rPr>
              <a:t>XConnect</a:t>
            </a:r>
            <a:endParaRPr lang="en-AU" sz="900" b="1" dirty="0">
              <a:gradFill>
                <a:gsLst>
                  <a:gs pos="1344">
                    <a:schemeClr val="tx1"/>
                  </a:gs>
                  <a:gs pos="4570">
                    <a:schemeClr val="tx1"/>
                  </a:gs>
                </a:gsLst>
                <a:lin ang="5400000" scaled="1"/>
              </a:gra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597519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02AA32E-850A-4F3A-9344-4AB458E1939A}" type="slidenum">
              <a:rPr lang="en-AU" smtClean="0"/>
              <a:pPr/>
              <a:t>9</a:t>
            </a:fld>
            <a:endParaRPr lang="en-AU"/>
          </a:p>
        </p:txBody>
      </p:sp>
      <p:sp>
        <p:nvSpPr>
          <p:cNvPr id="41" name="Text Placeholder 4"/>
          <p:cNvSpPr txBox="1">
            <a:spLocks/>
          </p:cNvSpPr>
          <p:nvPr/>
        </p:nvSpPr>
        <p:spPr>
          <a:xfrm>
            <a:off x="284237" y="1781113"/>
            <a:ext cx="8575526" cy="1300184"/>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766">
              <a:spcBef>
                <a:spcPct val="0"/>
              </a:spcBef>
              <a:buNone/>
            </a:pPr>
            <a:r>
              <a:rPr lang="en-US" sz="3200" spc="-38" dirty="0">
                <a:gradFill>
                  <a:gsLst>
                    <a:gs pos="4839">
                      <a:schemeClr val="tx1"/>
                    </a:gs>
                    <a:gs pos="63000">
                      <a:schemeClr val="tx1"/>
                    </a:gs>
                  </a:gsLst>
                  <a:lin ang="5400000" scaled="1"/>
                </a:gradFill>
                <a:latin typeface="Arial" panose="020B0604020202020204" pitchFamily="34" charset="0"/>
                <a:ea typeface="Roboto Medium" panose="02000000000000000000" pitchFamily="2" charset="0"/>
                <a:cs typeface="Arial" panose="020B0604020202020204" pitchFamily="34" charset="0"/>
              </a:rPr>
              <a:t>An offline UWP app, a couple MVC sites, </a:t>
            </a:r>
            <a:r>
              <a:rPr lang="en-US" sz="3200" spc="-38" dirty="0" err="1">
                <a:gradFill>
                  <a:gsLst>
                    <a:gs pos="4839">
                      <a:schemeClr val="tx1"/>
                    </a:gs>
                    <a:gs pos="63000">
                      <a:schemeClr val="tx1"/>
                    </a:gs>
                  </a:gsLst>
                  <a:lin ang="5400000" scaled="1"/>
                </a:gradFill>
                <a:latin typeface="Arial" panose="020B0604020202020204" pitchFamily="34" charset="0"/>
                <a:ea typeface="Roboto Medium" panose="02000000000000000000" pitchFamily="2" charset="0"/>
                <a:cs typeface="Arial" panose="020B0604020202020204" pitchFamily="34" charset="0"/>
              </a:rPr>
              <a:t>Xconnect</a:t>
            </a:r>
            <a:r>
              <a:rPr lang="en-US" sz="3200" spc="-38" dirty="0">
                <a:gradFill>
                  <a:gsLst>
                    <a:gs pos="4839">
                      <a:schemeClr val="tx1"/>
                    </a:gs>
                    <a:gs pos="63000">
                      <a:schemeClr val="tx1"/>
                    </a:gs>
                  </a:gsLst>
                  <a:lin ang="5400000" scaled="1"/>
                </a:gradFill>
                <a:latin typeface="Arial" panose="020B0604020202020204" pitchFamily="34" charset="0"/>
                <a:ea typeface="Roboto Medium" panose="02000000000000000000" pitchFamily="2" charset="0"/>
                <a:cs typeface="Arial" panose="020B0604020202020204" pitchFamily="34" charset="0"/>
              </a:rPr>
              <a:t> and some </a:t>
            </a:r>
            <a:r>
              <a:rPr lang="en-US" sz="3200" b="1" spc="-38" dirty="0">
                <a:gradFill>
                  <a:gsLst>
                    <a:gs pos="4839">
                      <a:schemeClr val="accent2"/>
                    </a:gs>
                    <a:gs pos="10000">
                      <a:schemeClr val="accent2"/>
                    </a:gs>
                  </a:gsLst>
                  <a:lin ang="5400000" scaled="1"/>
                </a:gradFill>
                <a:latin typeface="Arial" panose="020B0604020202020204" pitchFamily="34" charset="0"/>
                <a:ea typeface="Roboto Medium" panose="02000000000000000000" pitchFamily="2" charset="0"/>
                <a:cs typeface="Arial" panose="020B0604020202020204" pitchFamily="34" charset="0"/>
              </a:rPr>
              <a:t>visitor’s experiences. </a:t>
            </a:r>
          </a:p>
        </p:txBody>
      </p:sp>
    </p:spTree>
    <p:extLst>
      <p:ext uri="{BB962C8B-B14F-4D97-AF65-F5344CB8AC3E}">
        <p14:creationId xmlns:p14="http://schemas.microsoft.com/office/powerpoint/2010/main" val="29204893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A6NosceY0.89_utCO6qN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vA6NosceY0.89_utCO6qNA"/>
</p:tagLst>
</file>

<file path=ppt/theme/theme1.xml><?xml version="1.0" encoding="utf-8"?>
<a:theme xmlns:a="http://schemas.openxmlformats.org/drawingml/2006/main" name="Slalom 2017 Template and Toolkit">
  <a:themeElements>
    <a:clrScheme name="Custom 26">
      <a:dk1>
        <a:srgbClr val="373737"/>
      </a:dk1>
      <a:lt1>
        <a:srgbClr val="FFFFFF"/>
      </a:lt1>
      <a:dk2>
        <a:srgbClr val="868686"/>
      </a:dk2>
      <a:lt2>
        <a:srgbClr val="EFE9E5"/>
      </a:lt2>
      <a:accent1>
        <a:srgbClr val="3CB3E7"/>
      </a:accent1>
      <a:accent2>
        <a:srgbClr val="0072C8"/>
      </a:accent2>
      <a:accent3>
        <a:srgbClr val="FFE72D"/>
      </a:accent3>
      <a:accent4>
        <a:srgbClr val="A6CD39"/>
      </a:accent4>
      <a:accent5>
        <a:srgbClr val="B44A9C"/>
      </a:accent5>
      <a:accent6>
        <a:srgbClr val="818283"/>
      </a:accent6>
      <a:hlink>
        <a:srgbClr val="0072C8"/>
      </a:hlink>
      <a:folHlink>
        <a:srgbClr val="3CB3E7"/>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lIns="91440" tIns="91440" rIns="91440" bIns="91440" rtlCol="0" anchor="ctr" anchorCtr="0"/>
      <a:lstStyle>
        <a:defPPr algn="ctr">
          <a:defRPr dirty="0" err="1" smtClean="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nSpc>
            <a:spcPct val="90000"/>
          </a:lnSpc>
          <a:spcBef>
            <a:spcPts val="1200"/>
          </a:spcBef>
          <a:buClr>
            <a:srgbClr val="CC0000"/>
          </a:buClr>
          <a:buSzPct val="110000"/>
          <a:defRPr sz="1600" dirty="0" smtClean="0">
            <a:gradFill>
              <a:gsLst>
                <a:gs pos="0">
                  <a:schemeClr val="tx1"/>
                </a:gs>
                <a:gs pos="98000">
                  <a:schemeClr val="tx1"/>
                </a:gs>
              </a:gsLst>
              <a:lin ang="5400000" scaled="0"/>
            </a:gra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TALENT" id="{42DDE431-62AA-4CFE-9B81-CB19337157E0}" vid="{4B43CFC9-863A-4E99-B289-EA56B68882E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736775483C978499D9195B260C24C73" ma:contentTypeVersion="0" ma:contentTypeDescription="Create a new document." ma:contentTypeScope="" ma:versionID="d4be1c598de8bc3e18f249f3da199b24">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651A2D2-DAB1-42F6-BF0C-260AF2394DD4}">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DF96C08A-CA28-4B1B-B125-861A478E415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6974DEA9-D70C-4D76-8253-0021E052568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ALENT</Template>
  <TotalTime>0</TotalTime>
  <Words>715</Words>
  <Application>Microsoft Office PowerPoint</Application>
  <PresentationFormat>On-screen Show (16:9)</PresentationFormat>
  <Paragraphs>135</Paragraphs>
  <Slides>12</Slides>
  <Notes>9</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2" baseType="lpstr">
      <vt:lpstr>Apex New Light</vt:lpstr>
      <vt:lpstr>Arial</vt:lpstr>
      <vt:lpstr>Calibri</vt:lpstr>
      <vt:lpstr>Roboto Light</vt:lpstr>
      <vt:lpstr>Roboto Medium</vt:lpstr>
      <vt:lpstr>Segoe UI Black</vt:lpstr>
      <vt:lpstr>TradeGothic Bold</vt:lpstr>
      <vt:lpstr>Wingdings</vt:lpstr>
      <vt:lpstr>Slalom 2017 Template and Toolkit</vt:lpstr>
      <vt:lpstr>think-cell Slide</vt:lpstr>
      <vt:lpstr>Exploring Sitecore Xconnect</vt:lpstr>
      <vt:lpstr>First, what’s Xconnec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02-04T17:41:01Z</dcterms:created>
  <dcterms:modified xsi:type="dcterms:W3CDTF">2018-09-28T16:12: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736775483C978499D9195B260C24C73</vt:lpwstr>
  </property>
</Properties>
</file>